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gs/tag56.xml" ContentType="application/vnd.openxmlformats-officedocument.presentationml.tags+xml"/>
  <Override PartName="/ppt/charts/chart13.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tags/tag23.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colors4.xml" ContentType="application/vnd.openxmlformats-officedocument.drawingml.diagramColor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ppt/diagrams/layout6.xml" ContentType="application/vnd.openxmlformats-officedocument.drawingml.diagramLayout+xml"/>
  <Override PartName="/ppt/tags/tag28.xml" ContentType="application/vnd.openxmlformats-officedocument.presentationml.tags+xml"/>
  <Override PartName="/ppt/tags/tag57.xml" ContentType="application/vnd.openxmlformats-officedocument.presentationml.tags+xml"/>
  <Override PartName="/ppt/charts/chart14.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diagrams/layout2.xml" ContentType="application/vnd.openxmlformats-officedocument.drawingml.diagramLayout+xml"/>
  <Override PartName="/ppt/charts/chart10.xml" ContentType="application/vnd.openxmlformats-officedocument.drawingml.chart+xml"/>
  <Override PartName="/ppt/tags/tag24.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charts/chart4.xml" ContentType="application/vnd.openxmlformats-officedocument.drawingml.chart+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diagrams/drawing4.xml" ContentType="application/vnd.ms-office.drawingml.diagramDrawing+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charts/chart15.xml" ContentType="application/vnd.openxmlformats-officedocument.drawingml.chart+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charts/chart9.xml" ContentType="application/vnd.openxmlformats-officedocument.drawingml.chart+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charts/chart11.xml" ContentType="application/vnd.openxmlformats-officedocument.drawingml.chart+xml"/>
  <Override PartName="/ppt/tags/tag14.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tags/tag25.xml" ContentType="application/vnd.openxmlformats-officedocument.presentationml.tags+xml"/>
  <Override PartName="/ppt/tags/tag43.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diagrams/colors6.xml" ContentType="application/vnd.openxmlformats-officedocument.drawingml.diagramColor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tags/tag26.xml" ContentType="application/vnd.openxmlformats-officedocument.presentationml.tags+xml"/>
  <Override PartName="/ppt/tags/tag55.xml" ContentType="application/vnd.openxmlformats-officedocument.presentationml.tags+xml"/>
  <Override PartName="/ppt/charts/chart12.xml" ContentType="application/vnd.openxmlformats-officedocument.drawingml.chart+xml"/>
  <Override PartName="/ppt/tags/tag15.xml" ContentType="application/vnd.openxmlformats-officedocument.presentationml.tags+xml"/>
  <Override PartName="/ppt/charts/chart6.xml" ContentType="application/vnd.openxmlformats-officedocument.drawingml.chart+xml"/>
  <Override PartName="/ppt/notesSlides/notesSlide11.xml" ContentType="application/vnd.openxmlformats-officedocument.presentationml.notesSlide+xml"/>
  <Override PartName="/ppt/diagrams/data5.xml" ContentType="application/vnd.openxmlformats-officedocument.drawingml.diagramData+xml"/>
  <Override PartName="/ppt/tags/tag3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5" r:id="rId4"/>
    <p:sldMasterId id="2147483804" r:id="rId5"/>
  </p:sldMasterIdLst>
  <p:notesMasterIdLst>
    <p:notesMasterId r:id="rId34"/>
  </p:notesMasterIdLst>
  <p:handoutMasterIdLst>
    <p:handoutMasterId r:id="rId35"/>
  </p:handoutMasterIdLst>
  <p:sldIdLst>
    <p:sldId id="256" r:id="rId6"/>
    <p:sldId id="398" r:id="rId7"/>
    <p:sldId id="505" r:id="rId8"/>
    <p:sldId id="506" r:id="rId9"/>
    <p:sldId id="509" r:id="rId10"/>
    <p:sldId id="507" r:id="rId11"/>
    <p:sldId id="508" r:id="rId12"/>
    <p:sldId id="515" r:id="rId13"/>
    <p:sldId id="360" r:id="rId14"/>
    <p:sldId id="307" r:id="rId15"/>
    <p:sldId id="262" r:id="rId16"/>
    <p:sldId id="361" r:id="rId17"/>
    <p:sldId id="497" r:id="rId18"/>
    <p:sldId id="513" r:id="rId19"/>
    <p:sldId id="321" r:id="rId20"/>
    <p:sldId id="294" r:id="rId21"/>
    <p:sldId id="296" r:id="rId22"/>
    <p:sldId id="293" r:id="rId23"/>
    <p:sldId id="490" r:id="rId24"/>
    <p:sldId id="498" r:id="rId25"/>
    <p:sldId id="514" r:id="rId26"/>
    <p:sldId id="422" r:id="rId27"/>
    <p:sldId id="495" r:id="rId28"/>
    <p:sldId id="470" r:id="rId29"/>
    <p:sldId id="419" r:id="rId30"/>
    <p:sldId id="471" r:id="rId31"/>
    <p:sldId id="446" r:id="rId32"/>
    <p:sldId id="435" r:id="rId33"/>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7C2B"/>
    <a:srgbClr val="FDFDFD"/>
    <a:srgbClr val="E2E2E2"/>
    <a:srgbClr val="E6E6E6"/>
    <a:srgbClr val="DBDBDB"/>
    <a:srgbClr val="EAEAEA"/>
    <a:srgbClr val="CED7CD"/>
    <a:srgbClr val="DEDEDE"/>
    <a:srgbClr val="C7C7C7"/>
    <a:srgbClr val="EFCE0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7033" autoAdjust="0"/>
    <p:restoredTop sz="80426" autoAdjust="0"/>
  </p:normalViewPr>
  <p:slideViewPr>
    <p:cSldViewPr snapToGrid="0">
      <p:cViewPr varScale="1">
        <p:scale>
          <a:sx n="58" d="100"/>
          <a:sy n="58" d="100"/>
        </p:scale>
        <p:origin x="-1656" y="-84"/>
      </p:cViewPr>
      <p:guideLst>
        <p:guide orient="horz" pos="4159"/>
        <p:guide orient="horz" pos="3928"/>
        <p:guide orient="horz" pos="3708"/>
        <p:guide orient="horz" pos="3810"/>
        <p:guide orient="horz" pos="210"/>
        <p:guide orient="horz" pos="691"/>
        <p:guide orient="horz" pos="969"/>
        <p:guide orient="horz" pos="824"/>
        <p:guide pos="298"/>
        <p:guide pos="2880"/>
        <p:guide pos="2784"/>
        <p:guide pos="2976"/>
        <p:guide pos="54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9648"/>
    </p:cViewPr>
  </p:sorterViewPr>
  <p:notesViewPr>
    <p:cSldViewPr snapToGrid="0">
      <p:cViewPr varScale="1">
        <p:scale>
          <a:sx n="142" d="100"/>
          <a:sy n="142" d="100"/>
        </p:scale>
        <p:origin x="-216" y="-112"/>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jdshare\Govt_Affairs\JBP%20Presentations\Data\Current\IMF%20GDP.v3.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oleObject" Target="file:///C:\Users\td81913\Documents\Yield%20Estimation-300%20bu%20Project\SSA%20Market%20Prediction\Zambia%20and%20Nigeria%20examples%20of%20precip%20seasonality%20and%20temp.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Project%20Management/Macro%20Handout.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Macroeconomic/Infrastructure%20comparisons%20top%2018%20countries.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Macroeconomic/Infrastructure%20comparisons%20top%2018%20countries.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3.xml"/></Relationships>
</file>

<file path=ppt/charts/_rels/chart2.xml.rels><?xml version="1.0" encoding="UTF-8" standalone="yes"?>
<Relationships xmlns="http://schemas.openxmlformats.org/package/2006/relationships"><Relationship Id="rId2" Type="http://schemas.openxmlformats.org/officeDocument/2006/relationships/oleObject" Target="file:///\\jdshare\Govt_Affairs\JBP%20Presentations\Data\Current\IMF%20GDP.v3.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oleObject" Target="file:///C:\Users\ai90764\Desktop\CEO%20ExtStaff%20spreadsheets\pop_data2.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hare-internal.deere.com/projects/businessdevl/Projects/Africa%20Immersion/Shared%20Documents/Yield%20Data/Crop%20Production%20Valu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Yield%20Data/Crop%20Production%20Value.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Yield%20Data/Key%20crop%20summary.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dl04636.JDNET\Desktop\Potential%20yield%20total%20by%20key%20regions%20and%20crops.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dl04636.JDNET\Desktop\Potential%20yield%20total%20by%20key%20regions%20and%20crops.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http://share-internal.deere.com/projects/businessdevl/Projects/Africa%20Immersion/Shared%20Documents/Yield%20Data/Fertilizer%20use%20vs%20actual%20yields%2016%20countri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plotArea>
      <c:layout>
        <c:manualLayout>
          <c:layoutTarget val="inner"/>
          <c:xMode val="edge"/>
          <c:yMode val="edge"/>
          <c:x val="6.4727755184448107E-2"/>
          <c:y val="6.3406346933905997E-2"/>
          <c:w val="0.91314770269101064"/>
          <c:h val="0.88426533047005462"/>
        </c:manualLayout>
      </c:layout>
      <c:barChart>
        <c:barDir val="col"/>
        <c:grouping val="clustered"/>
        <c:ser>
          <c:idx val="0"/>
          <c:order val="0"/>
          <c:tx>
            <c:strRef>
              <c:f>'Group Data'!$A$2</c:f>
              <c:strCache>
                <c:ptCount val="1"/>
                <c:pt idx="0">
                  <c:v>World</c:v>
                </c:pt>
              </c:strCache>
            </c:strRef>
          </c:tx>
          <c:spPr>
            <a:solidFill>
              <a:schemeClr val="accent2"/>
            </a:solidFill>
          </c:spPr>
          <c:dPt>
            <c:idx val="11"/>
            <c:spPr>
              <a:solidFill>
                <a:srgbClr val="FF0000"/>
              </a:solidFill>
            </c:spPr>
          </c:dPt>
          <c:dPt>
            <c:idx val="15"/>
            <c:spPr>
              <a:solidFill>
                <a:schemeClr val="accent1"/>
              </a:solidFill>
            </c:spPr>
          </c:dPt>
          <c:dPt>
            <c:idx val="16"/>
            <c:spPr>
              <a:solidFill>
                <a:schemeClr val="accent1"/>
              </a:solidFill>
            </c:spPr>
          </c:dPt>
          <c:dPt>
            <c:idx val="17"/>
            <c:spPr>
              <a:solidFill>
                <a:schemeClr val="accent1"/>
              </a:solidFill>
            </c:spPr>
          </c:dPt>
          <c:dPt>
            <c:idx val="18"/>
            <c:spPr>
              <a:solidFill>
                <a:schemeClr val="accent1"/>
              </a:solidFill>
            </c:spPr>
          </c:dPt>
          <c:dPt>
            <c:idx val="19"/>
            <c:spPr>
              <a:solidFill>
                <a:schemeClr val="accent1"/>
              </a:solidFill>
            </c:spPr>
          </c:dPt>
          <c:dPt>
            <c:idx val="20"/>
            <c:spPr>
              <a:solidFill>
                <a:schemeClr val="tx2"/>
              </a:solidFill>
            </c:spPr>
          </c:dPt>
          <c:cat>
            <c:strRef>
              <c:f>'Group Data'!$F$1:$Z$1</c:f>
              <c:strCache>
                <c:ptCount val="21"/>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F</c:v>
                </c:pt>
                <c:pt idx="17">
                  <c:v>2015F</c:v>
                </c:pt>
                <c:pt idx="18">
                  <c:v>2016F</c:v>
                </c:pt>
                <c:pt idx="19">
                  <c:v>2017F</c:v>
                </c:pt>
                <c:pt idx="20">
                  <c:v>2018F</c:v>
                </c:pt>
              </c:strCache>
            </c:strRef>
          </c:cat>
          <c:val>
            <c:numRef>
              <c:f>'Group Data'!$F$2:$Z$2</c:f>
              <c:numCache>
                <c:formatCode>General</c:formatCode>
                <c:ptCount val="21"/>
                <c:pt idx="0">
                  <c:v>2.5789999999999997</c:v>
                </c:pt>
                <c:pt idx="1">
                  <c:v>3.6040000000000001</c:v>
                </c:pt>
                <c:pt idx="2">
                  <c:v>4.766</c:v>
                </c:pt>
                <c:pt idx="3">
                  <c:v>2.3329999999999997</c:v>
                </c:pt>
                <c:pt idx="4">
                  <c:v>2.8749999999999996</c:v>
                </c:pt>
                <c:pt idx="5">
                  <c:v>3.6909999999999998</c:v>
                </c:pt>
                <c:pt idx="6">
                  <c:v>4.968</c:v>
                </c:pt>
                <c:pt idx="7">
                  <c:v>4.58</c:v>
                </c:pt>
                <c:pt idx="8">
                  <c:v>5.2690000000000001</c:v>
                </c:pt>
                <c:pt idx="9">
                  <c:v>5.4379999999999997</c:v>
                </c:pt>
                <c:pt idx="10">
                  <c:v>2.8069999999999995</c:v>
                </c:pt>
                <c:pt idx="11">
                  <c:v>-0.59000000000000008</c:v>
                </c:pt>
                <c:pt idx="12">
                  <c:v>5.2210000000000001</c:v>
                </c:pt>
                <c:pt idx="13">
                  <c:v>3.9</c:v>
                </c:pt>
                <c:pt idx="14">
                  <c:v>3.2</c:v>
                </c:pt>
                <c:pt idx="15">
                  <c:v>2.9</c:v>
                </c:pt>
                <c:pt idx="16">
                  <c:v>3.6</c:v>
                </c:pt>
                <c:pt idx="17">
                  <c:v>4</c:v>
                </c:pt>
                <c:pt idx="18">
                  <c:v>4.0999999999999996</c:v>
                </c:pt>
                <c:pt idx="19">
                  <c:v>4.0999999999999996</c:v>
                </c:pt>
                <c:pt idx="20">
                  <c:v>4.4889999999999999</c:v>
                </c:pt>
              </c:numCache>
            </c:numRef>
          </c:val>
        </c:ser>
        <c:dLbls/>
        <c:axId val="75633024"/>
        <c:axId val="75634560"/>
      </c:barChart>
      <c:lineChart>
        <c:grouping val="standard"/>
        <c:ser>
          <c:idx val="1"/>
          <c:order val="1"/>
          <c:tx>
            <c:v>Developed</c:v>
          </c:tx>
          <c:spPr>
            <a:ln w="38100">
              <a:solidFill>
                <a:schemeClr val="tx1"/>
              </a:solidFill>
            </a:ln>
          </c:spPr>
          <c:marker>
            <c:symbol val="none"/>
          </c:marker>
          <c:cat>
            <c:strRef>
              <c:f>'Group Data'!$F$1:$Z$1</c:f>
              <c:strCache>
                <c:ptCount val="21"/>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F</c:v>
                </c:pt>
                <c:pt idx="17">
                  <c:v>2015F</c:v>
                </c:pt>
                <c:pt idx="18">
                  <c:v>2016F</c:v>
                </c:pt>
                <c:pt idx="19">
                  <c:v>2017F</c:v>
                </c:pt>
                <c:pt idx="20">
                  <c:v>2018F</c:v>
                </c:pt>
              </c:strCache>
            </c:strRef>
          </c:cat>
          <c:val>
            <c:numRef>
              <c:f>'Group Data'!$F$3:$Z$3</c:f>
              <c:numCache>
                <c:formatCode>General</c:formatCode>
                <c:ptCount val="21"/>
                <c:pt idx="0">
                  <c:v>2.585</c:v>
                </c:pt>
                <c:pt idx="1">
                  <c:v>3.633</c:v>
                </c:pt>
                <c:pt idx="2">
                  <c:v>4.0860000000000003</c:v>
                </c:pt>
                <c:pt idx="3">
                  <c:v>1.4929999999999999</c:v>
                </c:pt>
                <c:pt idx="4">
                  <c:v>1.7370000000000001</c:v>
                </c:pt>
                <c:pt idx="5">
                  <c:v>2.0219999999999998</c:v>
                </c:pt>
                <c:pt idx="6">
                  <c:v>3.0919999999999996</c:v>
                </c:pt>
                <c:pt idx="7">
                  <c:v>2.6379999999999999</c:v>
                </c:pt>
                <c:pt idx="8">
                  <c:v>3.0249999999999999</c:v>
                </c:pt>
                <c:pt idx="9">
                  <c:v>2.8009999999999997</c:v>
                </c:pt>
                <c:pt idx="10">
                  <c:v>6.900000000000002E-2</c:v>
                </c:pt>
                <c:pt idx="11">
                  <c:v>-3.4699999999999998</c:v>
                </c:pt>
                <c:pt idx="12">
                  <c:v>3</c:v>
                </c:pt>
                <c:pt idx="13">
                  <c:v>1.7000000000000002</c:v>
                </c:pt>
                <c:pt idx="14">
                  <c:v>1.5</c:v>
                </c:pt>
                <c:pt idx="15">
                  <c:v>1.2</c:v>
                </c:pt>
                <c:pt idx="16">
                  <c:v>2</c:v>
                </c:pt>
                <c:pt idx="17">
                  <c:v>2.5</c:v>
                </c:pt>
                <c:pt idx="18">
                  <c:v>2.6</c:v>
                </c:pt>
                <c:pt idx="19">
                  <c:v>2.6</c:v>
                </c:pt>
                <c:pt idx="20">
                  <c:v>2.5</c:v>
                </c:pt>
              </c:numCache>
            </c:numRef>
          </c:val>
        </c:ser>
        <c:ser>
          <c:idx val="2"/>
          <c:order val="2"/>
          <c:tx>
            <c:v>Developing</c:v>
          </c:tx>
          <c:spPr>
            <a:ln w="38100">
              <a:solidFill>
                <a:srgbClr val="0070C0"/>
              </a:solidFill>
            </a:ln>
          </c:spPr>
          <c:marker>
            <c:symbol val="none"/>
          </c:marker>
          <c:cat>
            <c:strRef>
              <c:f>'Group Data'!$F$1:$Z$1</c:f>
              <c:strCache>
                <c:ptCount val="21"/>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F</c:v>
                </c:pt>
                <c:pt idx="17">
                  <c:v>2015F</c:v>
                </c:pt>
                <c:pt idx="18">
                  <c:v>2016F</c:v>
                </c:pt>
                <c:pt idx="19">
                  <c:v>2017F</c:v>
                </c:pt>
                <c:pt idx="20">
                  <c:v>2018F</c:v>
                </c:pt>
              </c:strCache>
            </c:strRef>
          </c:cat>
          <c:val>
            <c:numRef>
              <c:f>'Group Data'!$F$8:$Z$8</c:f>
              <c:numCache>
                <c:formatCode>General</c:formatCode>
                <c:ptCount val="21"/>
                <c:pt idx="0">
                  <c:v>2.5670000000000002</c:v>
                </c:pt>
                <c:pt idx="1">
                  <c:v>3.5539999999999998</c:v>
                </c:pt>
                <c:pt idx="2">
                  <c:v>5.9119999999999999</c:v>
                </c:pt>
                <c:pt idx="3">
                  <c:v>3.722</c:v>
                </c:pt>
                <c:pt idx="4">
                  <c:v>4.7039999999999997</c:v>
                </c:pt>
                <c:pt idx="5">
                  <c:v>6.2679999999999989</c:v>
                </c:pt>
                <c:pt idx="6">
                  <c:v>7.7309999999999999</c:v>
                </c:pt>
                <c:pt idx="7">
                  <c:v>7.3179999999999987</c:v>
                </c:pt>
                <c:pt idx="8">
                  <c:v>8.2830000000000013</c:v>
                </c:pt>
                <c:pt idx="9">
                  <c:v>8.7889999999999997</c:v>
                </c:pt>
                <c:pt idx="10">
                  <c:v>6.09</c:v>
                </c:pt>
                <c:pt idx="11">
                  <c:v>2.6680000000000001</c:v>
                </c:pt>
                <c:pt idx="12">
                  <c:v>7.613999999999999</c:v>
                </c:pt>
                <c:pt idx="13">
                  <c:v>6.2</c:v>
                </c:pt>
                <c:pt idx="14">
                  <c:v>4.9000000000000004</c:v>
                </c:pt>
                <c:pt idx="15">
                  <c:v>4.5</c:v>
                </c:pt>
                <c:pt idx="16">
                  <c:v>5.0999999999999996</c:v>
                </c:pt>
                <c:pt idx="17">
                  <c:v>5.3</c:v>
                </c:pt>
                <c:pt idx="18">
                  <c:v>5.4</c:v>
                </c:pt>
                <c:pt idx="19">
                  <c:v>5.5</c:v>
                </c:pt>
                <c:pt idx="20">
                  <c:v>5.6</c:v>
                </c:pt>
              </c:numCache>
            </c:numRef>
          </c:val>
        </c:ser>
        <c:dLbls/>
        <c:marker val="1"/>
        <c:axId val="75633024"/>
        <c:axId val="75634560"/>
      </c:lineChart>
      <c:catAx>
        <c:axId val="75633024"/>
        <c:scaling>
          <c:orientation val="minMax"/>
        </c:scaling>
        <c:axPos val="b"/>
        <c:numFmt formatCode="General" sourceLinked="1"/>
        <c:tickLblPos val="nextTo"/>
        <c:spPr>
          <a:noFill/>
        </c:spPr>
        <c:txPr>
          <a:bodyPr rot="0"/>
          <a:lstStyle/>
          <a:p>
            <a:pPr>
              <a:defRPr lang="en-US" sz="1000" b="1">
                <a:latin typeface="Verdana" panose="020B0604030504040204" pitchFamily="34" charset="0"/>
                <a:ea typeface="Verdana" panose="020B0604030504040204" pitchFamily="34" charset="0"/>
                <a:cs typeface="Verdana" panose="020B0604030504040204" pitchFamily="34" charset="0"/>
              </a:defRPr>
            </a:pPr>
            <a:endParaRPr lang="en-US"/>
          </a:p>
        </c:txPr>
        <c:crossAx val="75634560"/>
        <c:crosses val="autoZero"/>
        <c:auto val="1"/>
        <c:lblAlgn val="ctr"/>
        <c:lblOffset val="100"/>
      </c:catAx>
      <c:valAx>
        <c:axId val="75634560"/>
        <c:scaling>
          <c:orientation val="minMax"/>
          <c:min val="-4"/>
        </c:scaling>
        <c:axPos val="l"/>
        <c:title>
          <c:tx>
            <c:rich>
              <a:bodyPr rot="0" vert="horz"/>
              <a:lstStyle/>
              <a:p>
                <a:pPr>
                  <a:defRPr lang="en-US" sz="800">
                    <a:latin typeface="Arial" pitchFamily="34" charset="0"/>
                    <a:cs typeface="Arial" pitchFamily="34" charset="0"/>
                  </a:defRPr>
                </a:pPr>
                <a:r>
                  <a:rPr lang="en-US" sz="800">
                    <a:latin typeface="Verdana" panose="020B0604030504040204" pitchFamily="34" charset="0"/>
                    <a:ea typeface="Verdana" panose="020B0604030504040204" pitchFamily="34" charset="0"/>
                    <a:cs typeface="Verdana" panose="020B0604030504040204" pitchFamily="34" charset="0"/>
                  </a:rPr>
                  <a:t>Annual % Change</a:t>
                </a:r>
              </a:p>
            </c:rich>
          </c:tx>
          <c:layout>
            <c:manualLayout>
              <c:xMode val="edge"/>
              <c:yMode val="edge"/>
              <c:x val="6.8864468864468883E-2"/>
              <c:y val="6.4691769807140267E-2"/>
            </c:manualLayout>
          </c:layout>
          <c:spPr>
            <a:noFill/>
          </c:spPr>
        </c:title>
        <c:numFmt formatCode="0" sourceLinked="0"/>
        <c:tickLblPos val="nextTo"/>
        <c:spPr>
          <a:noFill/>
        </c:spPr>
        <c:txPr>
          <a:bodyPr/>
          <a:lstStyle/>
          <a:p>
            <a:pPr>
              <a:defRPr lang="en-US" sz="1000" b="1">
                <a:latin typeface="Verdana" panose="020B0604030504040204" pitchFamily="34" charset="0"/>
                <a:ea typeface="Verdana" panose="020B0604030504040204" pitchFamily="34" charset="0"/>
                <a:cs typeface="Verdana" panose="020B0604030504040204" pitchFamily="34" charset="0"/>
              </a:defRPr>
            </a:pPr>
            <a:endParaRPr lang="en-US"/>
          </a:p>
        </c:txPr>
        <c:crossAx val="75633024"/>
        <c:crosses val="autoZero"/>
        <c:crossBetween val="between"/>
      </c:valAx>
      <c:spPr>
        <a:noFill/>
        <a:ln w="25400">
          <a:noFill/>
        </a:ln>
      </c:spPr>
    </c:plotArea>
    <c:legend>
      <c:legendPos val="t"/>
      <c:legendEntry>
        <c:idx val="0"/>
        <c:delete val="1"/>
      </c:legendEntry>
      <c:layout>
        <c:manualLayout>
          <c:xMode val="edge"/>
          <c:yMode val="edge"/>
          <c:x val="8.8234382073233572E-2"/>
          <c:y val="0.87155107323913295"/>
          <c:w val="0.46451921700857357"/>
          <c:h val="7.0798547441843773E-2"/>
        </c:manualLayout>
      </c:layout>
      <c:spPr>
        <a:noFill/>
      </c:spPr>
      <c:txPr>
        <a:bodyPr/>
        <a:lstStyle/>
        <a:p>
          <a:pPr>
            <a:defRPr lang="en-US" sz="1400" b="1">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chart>
  <c:spPr>
    <a:noFill/>
    <a:ln>
      <a:noFill/>
    </a:ln>
  </c:spPr>
  <c:externalData r:id="rId2"/>
</c:chartSpace>
</file>

<file path=ppt/charts/chart10.xml><?xml version="1.0" encoding="utf-8"?>
<c:chartSpace xmlns:c="http://schemas.openxmlformats.org/drawingml/2006/chart" xmlns:a="http://schemas.openxmlformats.org/drawingml/2006/main" xmlns:r="http://schemas.openxmlformats.org/officeDocument/2006/relationships">
  <c:lang val="en-IN"/>
  <c:chart>
    <c:plotArea>
      <c:layout>
        <c:manualLayout>
          <c:layoutTarget val="inner"/>
          <c:xMode val="edge"/>
          <c:yMode val="edge"/>
          <c:x val="0.14830951394505915"/>
          <c:y val="4.810702025441578E-2"/>
          <c:w val="0.94506644316699573"/>
          <c:h val="0.90627491804378879"/>
        </c:manualLayout>
      </c:layout>
      <c:lineChart>
        <c:grouping val="standard"/>
        <c:ser>
          <c:idx val="0"/>
          <c:order val="0"/>
          <c:tx>
            <c:strRef>
              <c:f>'Brazil-Nigeria-Zambia Data'!$J$2</c:f>
              <c:strCache>
                <c:ptCount val="1"/>
                <c:pt idx="0">
                  <c:v>Hi Temp</c:v>
                </c:pt>
              </c:strCache>
            </c:strRef>
          </c:tx>
          <c:spPr>
            <a:ln>
              <a:solidFill>
                <a:srgbClr val="FF0000"/>
              </a:solidFill>
            </a:ln>
          </c:spPr>
          <c:marker>
            <c:symbol val="none"/>
          </c:marker>
          <c:cat>
            <c:strRef>
              <c:f>'Brazil-Nigeria-Zambia Data'!$I$3:$I$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Brazil-Nigeria-Zambia Data'!$J$3:$J$14</c:f>
              <c:numCache>
                <c:formatCode>0.0</c:formatCode>
                <c:ptCount val="12"/>
                <c:pt idx="0">
                  <c:v>26.057142857142853</c:v>
                </c:pt>
                <c:pt idx="1">
                  <c:v>26.057142857142853</c:v>
                </c:pt>
                <c:pt idx="2">
                  <c:v>26.057142857142853</c:v>
                </c:pt>
                <c:pt idx="3">
                  <c:v>26.057142857142853</c:v>
                </c:pt>
                <c:pt idx="4">
                  <c:v>25.071428571428573</c:v>
                </c:pt>
                <c:pt idx="5">
                  <c:v>22.928571428571427</c:v>
                </c:pt>
                <c:pt idx="6">
                  <c:v>22.928571428571427</c:v>
                </c:pt>
                <c:pt idx="7">
                  <c:v>26.571428571428573</c:v>
                </c:pt>
                <c:pt idx="8">
                  <c:v>28.928571428571427</c:v>
                </c:pt>
                <c:pt idx="9">
                  <c:v>31.071428571428573</c:v>
                </c:pt>
                <c:pt idx="10">
                  <c:v>28.928571428571427</c:v>
                </c:pt>
                <c:pt idx="11">
                  <c:v>27</c:v>
                </c:pt>
              </c:numCache>
            </c:numRef>
          </c:val>
        </c:ser>
        <c:ser>
          <c:idx val="1"/>
          <c:order val="1"/>
          <c:tx>
            <c:strRef>
              <c:f>'Brazil-Nigeria-Zambia Data'!$K$2</c:f>
              <c:strCache>
                <c:ptCount val="1"/>
                <c:pt idx="0">
                  <c:v>Low Temp</c:v>
                </c:pt>
              </c:strCache>
            </c:strRef>
          </c:tx>
          <c:spPr>
            <a:ln>
              <a:solidFill>
                <a:srgbClr val="002060"/>
              </a:solidFill>
            </a:ln>
          </c:spPr>
          <c:marker>
            <c:symbol val="none"/>
          </c:marker>
          <c:cat>
            <c:strRef>
              <c:f>'Brazil-Nigeria-Zambia Data'!$I$3:$I$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Brazil-Nigeria-Zambia Data'!$K$3:$K$14</c:f>
              <c:numCache>
                <c:formatCode>0.0</c:formatCode>
                <c:ptCount val="12"/>
                <c:pt idx="0">
                  <c:v>17.014285714285723</c:v>
                </c:pt>
                <c:pt idx="1">
                  <c:v>17.014285714285723</c:v>
                </c:pt>
                <c:pt idx="2">
                  <c:v>16.071428571428573</c:v>
                </c:pt>
                <c:pt idx="3">
                  <c:v>15</c:v>
                </c:pt>
                <c:pt idx="4">
                  <c:v>11.785714285714286</c:v>
                </c:pt>
                <c:pt idx="5">
                  <c:v>10.071428571428571</c:v>
                </c:pt>
                <c:pt idx="6">
                  <c:v>10.071428571428571</c:v>
                </c:pt>
                <c:pt idx="7">
                  <c:v>12.214285714285714</c:v>
                </c:pt>
                <c:pt idx="8">
                  <c:v>15.214285714285714</c:v>
                </c:pt>
                <c:pt idx="9">
                  <c:v>18.171428571428571</c:v>
                </c:pt>
                <c:pt idx="10">
                  <c:v>18.171428571428571</c:v>
                </c:pt>
                <c:pt idx="11">
                  <c:v>17.142857142857146</c:v>
                </c:pt>
              </c:numCache>
            </c:numRef>
          </c:val>
        </c:ser>
        <c:ser>
          <c:idx val="2"/>
          <c:order val="2"/>
          <c:tx>
            <c:strRef>
              <c:f>'Brazil-Nigeria-Zambia Data'!$L$2</c:f>
              <c:strCache>
                <c:ptCount val="1"/>
                <c:pt idx="0">
                  <c:v>Precip</c:v>
                </c:pt>
              </c:strCache>
            </c:strRef>
          </c:tx>
          <c:spPr>
            <a:ln>
              <a:solidFill>
                <a:srgbClr val="339933"/>
              </a:solidFill>
            </a:ln>
          </c:spPr>
          <c:marker>
            <c:symbol val="none"/>
          </c:marker>
          <c:cat>
            <c:strRef>
              <c:f>'Brazil-Nigeria-Zambia Data'!$I$3:$I$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Brazil-Nigeria-Zambia Data'!$L$3:$L$14</c:f>
              <c:numCache>
                <c:formatCode>0.0</c:formatCode>
                <c:ptCount val="12"/>
                <c:pt idx="0">
                  <c:v>21.428571428571427</c:v>
                </c:pt>
                <c:pt idx="1">
                  <c:v>19.714285714285719</c:v>
                </c:pt>
                <c:pt idx="2">
                  <c:v>9.6428571428571406</c:v>
                </c:pt>
                <c:pt idx="3">
                  <c:v>2.1428571428571432</c:v>
                </c:pt>
                <c:pt idx="4">
                  <c:v>0.42857142857142855</c:v>
                </c:pt>
                <c:pt idx="5">
                  <c:v>0</c:v>
                </c:pt>
                <c:pt idx="6">
                  <c:v>0</c:v>
                </c:pt>
                <c:pt idx="7">
                  <c:v>0</c:v>
                </c:pt>
                <c:pt idx="8">
                  <c:v>0</c:v>
                </c:pt>
                <c:pt idx="9">
                  <c:v>1.5</c:v>
                </c:pt>
                <c:pt idx="10">
                  <c:v>9.4285714285714253</c:v>
                </c:pt>
                <c:pt idx="11">
                  <c:v>18.642857142857146</c:v>
                </c:pt>
              </c:numCache>
            </c:numRef>
          </c:val>
        </c:ser>
        <c:dLbls/>
        <c:marker val="1"/>
        <c:axId val="49672960"/>
        <c:axId val="49674496"/>
      </c:lineChart>
      <c:catAx>
        <c:axId val="49672960"/>
        <c:scaling>
          <c:orientation val="minMax"/>
        </c:scaling>
        <c:axPos val="b"/>
        <c:majorTickMark val="in"/>
        <c:tickLblPos val="nextTo"/>
        <c:txPr>
          <a:bodyPr/>
          <a:lstStyle/>
          <a:p>
            <a:pPr>
              <a:defRPr lang="en-US" sz="1400"/>
            </a:pPr>
            <a:endParaRPr lang="en-US"/>
          </a:p>
        </c:txPr>
        <c:crossAx val="49674496"/>
        <c:crosses val="autoZero"/>
        <c:auto val="1"/>
        <c:lblAlgn val="ctr"/>
        <c:lblOffset val="100"/>
      </c:catAx>
      <c:valAx>
        <c:axId val="49674496"/>
        <c:scaling>
          <c:orientation val="minMax"/>
          <c:max val="45"/>
          <c:min val="0"/>
        </c:scaling>
        <c:axPos val="l"/>
        <c:majorGridlines/>
        <c:numFmt formatCode="0" sourceLinked="0"/>
        <c:majorTickMark val="in"/>
        <c:tickLblPos val="nextTo"/>
        <c:txPr>
          <a:bodyPr/>
          <a:lstStyle/>
          <a:p>
            <a:pPr>
              <a:defRPr lang="en-US" sz="1400"/>
            </a:pPr>
            <a:endParaRPr lang="en-US"/>
          </a:p>
        </c:txPr>
        <c:crossAx val="49672960"/>
        <c:crosses val="autoZero"/>
        <c:crossBetween val="between"/>
      </c:valAx>
    </c:plotArea>
    <c:plotVisOnly val="1"/>
    <c:dispBlanksAs val="gap"/>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IN"/>
  <c:chart>
    <c:plotArea>
      <c:layout/>
      <c:barChart>
        <c:barDir val="col"/>
        <c:grouping val="clustered"/>
        <c:ser>
          <c:idx val="0"/>
          <c:order val="0"/>
          <c:tx>
            <c:v>2010</c:v>
          </c:tx>
          <c:cat>
            <c:strRef>
              <c:f>'GDP per capita chart'!$A$6:$A$23</c:f>
              <c:strCache>
                <c:ptCount val="18"/>
                <c:pt idx="0">
                  <c:v>Nigeria</c:v>
                </c:pt>
                <c:pt idx="1">
                  <c:v>Ethiopia</c:v>
                </c:pt>
                <c:pt idx="2">
                  <c:v>Tanzania</c:v>
                </c:pt>
                <c:pt idx="3">
                  <c:v>Mozambique</c:v>
                </c:pt>
                <c:pt idx="4">
                  <c:v>South Africa</c:v>
                </c:pt>
                <c:pt idx="5">
                  <c:v>Zambia</c:v>
                </c:pt>
                <c:pt idx="6">
                  <c:v>Uganda</c:v>
                </c:pt>
                <c:pt idx="7">
                  <c:v>Angola</c:v>
                </c:pt>
                <c:pt idx="8">
                  <c:v>Ghana</c:v>
                </c:pt>
                <c:pt idx="9">
                  <c:v>Kenya</c:v>
                </c:pt>
                <c:pt idx="10">
                  <c:v>Zimbabwe</c:v>
                </c:pt>
                <c:pt idx="11">
                  <c:v>DRC</c:v>
                </c:pt>
                <c:pt idx="12">
                  <c:v>Niger</c:v>
                </c:pt>
                <c:pt idx="13">
                  <c:v>South Sudan</c:v>
                </c:pt>
                <c:pt idx="14">
                  <c:v>Burkina Faso</c:v>
                </c:pt>
                <c:pt idx="15">
                  <c:v>Mali</c:v>
                </c:pt>
                <c:pt idx="16">
                  <c:v>Cameroon</c:v>
                </c:pt>
                <c:pt idx="17">
                  <c:v>Côte d Ivoire</c:v>
                </c:pt>
              </c:strCache>
            </c:strRef>
          </c:cat>
          <c:val>
            <c:numRef>
              <c:f>'GDP per capita chart'!$G$6:$G$23</c:f>
              <c:numCache>
                <c:formatCode>#,##0.0</c:formatCode>
                <c:ptCount val="18"/>
                <c:pt idx="0">
                  <c:v>2119.9350025105955</c:v>
                </c:pt>
                <c:pt idx="1">
                  <c:v>1700.6547843070323</c:v>
                </c:pt>
                <c:pt idx="2">
                  <c:v>915.99741869910611</c:v>
                </c:pt>
                <c:pt idx="3">
                  <c:v>820.54228383657119</c:v>
                </c:pt>
                <c:pt idx="4">
                  <c:v>9179.8485932080948</c:v>
                </c:pt>
                <c:pt idx="5">
                  <c:v>1383.1561523010364</c:v>
                </c:pt>
                <c:pt idx="6">
                  <c:v>1619.9498261153881</c:v>
                </c:pt>
                <c:pt idx="7">
                  <c:v>5074.2702363779636</c:v>
                </c:pt>
                <c:pt idx="8">
                  <c:v>3476.8365679920616</c:v>
                </c:pt>
                <c:pt idx="9">
                  <c:v>1998.2505314781079</c:v>
                </c:pt>
                <c:pt idx="10">
                  <c:v>3519.4877532919636</c:v>
                </c:pt>
                <c:pt idx="11">
                  <c:v>373.28894399520016</c:v>
                </c:pt>
                <c:pt idx="12">
                  <c:v>1101.9324045492954</c:v>
                </c:pt>
                <c:pt idx="13" formatCode="0.0%">
                  <c:v>0</c:v>
                </c:pt>
                <c:pt idx="14">
                  <c:v>1526.3922975285136</c:v>
                </c:pt>
                <c:pt idx="15">
                  <c:v>984.2028041244314</c:v>
                </c:pt>
                <c:pt idx="16">
                  <c:v>2979.5317236785409</c:v>
                </c:pt>
                <c:pt idx="17">
                  <c:v>2400.0753174362967</c:v>
                </c:pt>
              </c:numCache>
            </c:numRef>
          </c:val>
        </c:ser>
        <c:ser>
          <c:idx val="1"/>
          <c:order val="1"/>
          <c:tx>
            <c:v>2043</c:v>
          </c:tx>
          <c:cat>
            <c:strRef>
              <c:f>'GDP per capita chart'!$A$6:$A$23</c:f>
              <c:strCache>
                <c:ptCount val="18"/>
                <c:pt idx="0">
                  <c:v>Nigeria</c:v>
                </c:pt>
                <c:pt idx="1">
                  <c:v>Ethiopia</c:v>
                </c:pt>
                <c:pt idx="2">
                  <c:v>Tanzania</c:v>
                </c:pt>
                <c:pt idx="3">
                  <c:v>Mozambique</c:v>
                </c:pt>
                <c:pt idx="4">
                  <c:v>South Africa</c:v>
                </c:pt>
                <c:pt idx="5">
                  <c:v>Zambia</c:v>
                </c:pt>
                <c:pt idx="6">
                  <c:v>Uganda</c:v>
                </c:pt>
                <c:pt idx="7">
                  <c:v>Angola</c:v>
                </c:pt>
                <c:pt idx="8">
                  <c:v>Ghana</c:v>
                </c:pt>
                <c:pt idx="9">
                  <c:v>Kenya</c:v>
                </c:pt>
                <c:pt idx="10">
                  <c:v>Zimbabwe</c:v>
                </c:pt>
                <c:pt idx="11">
                  <c:v>DRC</c:v>
                </c:pt>
                <c:pt idx="12">
                  <c:v>Niger</c:v>
                </c:pt>
                <c:pt idx="13">
                  <c:v>South Sudan</c:v>
                </c:pt>
                <c:pt idx="14">
                  <c:v>Burkina Faso</c:v>
                </c:pt>
                <c:pt idx="15">
                  <c:v>Mali</c:v>
                </c:pt>
                <c:pt idx="16">
                  <c:v>Cameroon</c:v>
                </c:pt>
                <c:pt idx="17">
                  <c:v>Côte d Ivoire</c:v>
                </c:pt>
              </c:strCache>
            </c:strRef>
          </c:cat>
          <c:val>
            <c:numRef>
              <c:f>'GDP per capita chart'!$H$6:$H$23</c:f>
              <c:numCache>
                <c:formatCode>#,##0.0</c:formatCode>
                <c:ptCount val="18"/>
                <c:pt idx="0">
                  <c:v>3403.6929027344759</c:v>
                </c:pt>
                <c:pt idx="1">
                  <c:v>6573.1300373094737</c:v>
                </c:pt>
                <c:pt idx="2">
                  <c:v>2339.4037895022216</c:v>
                </c:pt>
                <c:pt idx="3">
                  <c:v>2964.7047891937946</c:v>
                </c:pt>
                <c:pt idx="4">
                  <c:v>30908.168864286414</c:v>
                </c:pt>
                <c:pt idx="5">
                  <c:v>2788.3662124097177</c:v>
                </c:pt>
                <c:pt idx="6">
                  <c:v>3674.8135750176216</c:v>
                </c:pt>
                <c:pt idx="7">
                  <c:v>8168.0684169313563</c:v>
                </c:pt>
                <c:pt idx="8">
                  <c:v>9554.444012881062</c:v>
                </c:pt>
                <c:pt idx="9">
                  <c:v>5584.6493764189645</c:v>
                </c:pt>
                <c:pt idx="10">
                  <c:v>7062.7197684192506</c:v>
                </c:pt>
                <c:pt idx="11">
                  <c:v>999.81228608173035</c:v>
                </c:pt>
                <c:pt idx="12">
                  <c:v>1067.7966811272804</c:v>
                </c:pt>
                <c:pt idx="13" formatCode="0.0%">
                  <c:v>0</c:v>
                </c:pt>
                <c:pt idx="14">
                  <c:v>2328.5011921037408</c:v>
                </c:pt>
                <c:pt idx="15">
                  <c:v>954.15807626288552</c:v>
                </c:pt>
                <c:pt idx="16">
                  <c:v>4454.9383110413792</c:v>
                </c:pt>
                <c:pt idx="17">
                  <c:v>3430.0154250824062</c:v>
                </c:pt>
              </c:numCache>
            </c:numRef>
          </c:val>
        </c:ser>
        <c:dLbls/>
        <c:axId val="49727744"/>
        <c:axId val="49737728"/>
      </c:barChart>
      <c:scatterChart>
        <c:scatterStyle val="lineMarker"/>
        <c:ser>
          <c:idx val="2"/>
          <c:order val="2"/>
          <c:tx>
            <c:v>CAGR</c:v>
          </c:tx>
          <c:spPr>
            <a:ln w="28575">
              <a:noFill/>
            </a:ln>
          </c:spPr>
          <c:yVal>
            <c:numRef>
              <c:f>'GDP per capita chart'!$I$6:$I$23</c:f>
              <c:numCache>
                <c:formatCode>0.0%</c:formatCode>
                <c:ptCount val="18"/>
                <c:pt idx="0">
                  <c:v>1.4451167193154424E-2</c:v>
                </c:pt>
                <c:pt idx="1">
                  <c:v>4.1819801953611804E-2</c:v>
                </c:pt>
                <c:pt idx="2">
                  <c:v>2.8820775107343492E-2</c:v>
                </c:pt>
                <c:pt idx="3">
                  <c:v>3.9693836417895596E-2</c:v>
                </c:pt>
                <c:pt idx="4">
                  <c:v>3.7473235645662198E-2</c:v>
                </c:pt>
                <c:pt idx="5">
                  <c:v>2.1472370921218131E-2</c:v>
                </c:pt>
                <c:pt idx="6">
                  <c:v>2.5132047476047921E-2</c:v>
                </c:pt>
                <c:pt idx="7">
                  <c:v>1.4530302918262183E-2</c:v>
                </c:pt>
                <c:pt idx="8">
                  <c:v>3.1106847553454837E-2</c:v>
                </c:pt>
                <c:pt idx="9">
                  <c:v>3.1633973076637747E-2</c:v>
                </c:pt>
                <c:pt idx="10">
                  <c:v>2.1330825601453499E-2</c:v>
                </c:pt>
                <c:pt idx="11">
                  <c:v>3.0305121975316322E-2</c:v>
                </c:pt>
                <c:pt idx="12">
                  <c:v>-9.5312188525609209E-4</c:v>
                </c:pt>
                <c:pt idx="13">
                  <c:v>0</c:v>
                </c:pt>
                <c:pt idx="14">
                  <c:v>1.2879748262093482E-2</c:v>
                </c:pt>
                <c:pt idx="15">
                  <c:v>-9.3903221056979035E-4</c:v>
                </c:pt>
                <c:pt idx="16">
                  <c:v>1.2263897353541386E-2</c:v>
                </c:pt>
                <c:pt idx="17">
                  <c:v>1.087889000252207E-2</c:v>
                </c:pt>
              </c:numCache>
            </c:numRef>
          </c:yVal>
        </c:ser>
        <c:dLbls/>
        <c:axId val="49740800"/>
        <c:axId val="49739264"/>
      </c:scatterChart>
      <c:catAx>
        <c:axId val="49727744"/>
        <c:scaling>
          <c:orientation val="minMax"/>
        </c:scaling>
        <c:axPos val="b"/>
        <c:tickLblPos val="nextTo"/>
        <c:txPr>
          <a:bodyPr/>
          <a:lstStyle/>
          <a:p>
            <a:pPr>
              <a:defRPr lang="en-US"/>
            </a:pPr>
            <a:endParaRPr lang="en-US"/>
          </a:p>
        </c:txPr>
        <c:crossAx val="49737728"/>
        <c:crosses val="autoZero"/>
        <c:auto val="1"/>
        <c:lblAlgn val="ctr"/>
        <c:lblOffset val="100"/>
      </c:catAx>
      <c:valAx>
        <c:axId val="49737728"/>
        <c:scaling>
          <c:orientation val="minMax"/>
          <c:max val="10000"/>
        </c:scaling>
        <c:axPos val="l"/>
        <c:majorGridlines>
          <c:spPr>
            <a:ln>
              <a:solidFill>
                <a:schemeClr val="bg1">
                  <a:lumMod val="75000"/>
                </a:schemeClr>
              </a:solidFill>
            </a:ln>
          </c:spPr>
        </c:majorGridlines>
        <c:numFmt formatCode="#,##0.0" sourceLinked="1"/>
        <c:tickLblPos val="nextTo"/>
        <c:txPr>
          <a:bodyPr/>
          <a:lstStyle/>
          <a:p>
            <a:pPr>
              <a:defRPr lang="en-US"/>
            </a:pPr>
            <a:endParaRPr lang="en-US"/>
          </a:p>
        </c:txPr>
        <c:crossAx val="49727744"/>
        <c:crosses val="autoZero"/>
        <c:crossBetween val="between"/>
        <c:majorUnit val="1000"/>
      </c:valAx>
      <c:valAx>
        <c:axId val="49739264"/>
        <c:scaling>
          <c:orientation val="minMax"/>
        </c:scaling>
        <c:axPos val="r"/>
        <c:numFmt formatCode="0.0%" sourceLinked="1"/>
        <c:tickLblPos val="nextTo"/>
        <c:txPr>
          <a:bodyPr/>
          <a:lstStyle/>
          <a:p>
            <a:pPr>
              <a:defRPr lang="en-US"/>
            </a:pPr>
            <a:endParaRPr lang="en-US"/>
          </a:p>
        </c:txPr>
        <c:crossAx val="49740800"/>
        <c:crosses val="max"/>
        <c:crossBetween val="midCat"/>
      </c:valAx>
      <c:valAx>
        <c:axId val="49740800"/>
        <c:scaling>
          <c:orientation val="minMax"/>
        </c:scaling>
        <c:delete val="1"/>
        <c:axPos val="b"/>
        <c:tickLblPos val="nextTo"/>
        <c:crossAx val="49739264"/>
        <c:crosses val="autoZero"/>
        <c:crossBetween val="midCat"/>
      </c:valAx>
    </c:plotArea>
    <c:legend>
      <c:legendPos val="b"/>
      <c:layout/>
      <c:txPr>
        <a:bodyPr/>
        <a:lstStyle/>
        <a:p>
          <a:pPr>
            <a:defRPr lang="en-US"/>
          </a:pPr>
          <a:endParaRPr lang="en-US"/>
        </a:p>
      </c:txPr>
    </c:legend>
    <c:plotVisOnly val="1"/>
    <c:dispBlanksAs val="gap"/>
  </c:chart>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9.1849518810148703E-2"/>
          <c:y val="5.6611992906944554E-2"/>
          <c:w val="0.86194619422572194"/>
          <c:h val="0.55854697423251742"/>
        </c:manualLayout>
      </c:layout>
      <c:barChart>
        <c:barDir val="col"/>
        <c:grouping val="clustered"/>
        <c:ser>
          <c:idx val="0"/>
          <c:order val="0"/>
          <c:tx>
            <c:v>% Paved Roads</c:v>
          </c:tx>
          <c:cat>
            <c:strRef>
              <c:f>'% paved road chart'!$A$3:$A$20</c:f>
              <c:strCache>
                <c:ptCount val="18"/>
                <c:pt idx="0">
                  <c:v>Nigeria</c:v>
                </c:pt>
                <c:pt idx="1">
                  <c:v>Ethiopia</c:v>
                </c:pt>
                <c:pt idx="2">
                  <c:v>Tanzania</c:v>
                </c:pt>
                <c:pt idx="3">
                  <c:v>Mozambique</c:v>
                </c:pt>
                <c:pt idx="4">
                  <c:v>South Africa</c:v>
                </c:pt>
                <c:pt idx="5">
                  <c:v>Zambia</c:v>
                </c:pt>
                <c:pt idx="6">
                  <c:v>Uganda</c:v>
                </c:pt>
                <c:pt idx="7">
                  <c:v>Angola</c:v>
                </c:pt>
                <c:pt idx="8">
                  <c:v>Ghana</c:v>
                </c:pt>
                <c:pt idx="9">
                  <c:v>Kenya</c:v>
                </c:pt>
                <c:pt idx="10">
                  <c:v>Zimbabwe</c:v>
                </c:pt>
                <c:pt idx="11">
                  <c:v>DRC</c:v>
                </c:pt>
                <c:pt idx="12">
                  <c:v>Niger</c:v>
                </c:pt>
                <c:pt idx="13">
                  <c:v>South Sudan</c:v>
                </c:pt>
                <c:pt idx="14">
                  <c:v>Burkina Faso</c:v>
                </c:pt>
                <c:pt idx="15">
                  <c:v>Mali</c:v>
                </c:pt>
                <c:pt idx="16">
                  <c:v>Cameroon</c:v>
                </c:pt>
                <c:pt idx="17">
                  <c:v>Cote d'Ivoire</c:v>
                </c:pt>
              </c:strCache>
            </c:strRef>
          </c:cat>
          <c:val>
            <c:numRef>
              <c:f>'% paved road chart'!$M$3:$M$20</c:f>
              <c:numCache>
                <c:formatCode>0%</c:formatCode>
                <c:ptCount val="18"/>
                <c:pt idx="0">
                  <c:v>0.15000000000000002</c:v>
                </c:pt>
                <c:pt idx="1">
                  <c:v>0.19139543173654339</c:v>
                </c:pt>
                <c:pt idx="2">
                  <c:v>7.2246812156091772E-2</c:v>
                </c:pt>
                <c:pt idx="3">
                  <c:v>0.20780719395997493</c:v>
                </c:pt>
                <c:pt idx="4">
                  <c:v>0.20299973211745964</c:v>
                </c:pt>
                <c:pt idx="5">
                  <c:v>0.21996937882764661</c:v>
                </c:pt>
                <c:pt idx="6">
                  <c:v>0.23000593673140537</c:v>
                </c:pt>
                <c:pt idx="7">
                  <c:v>0.10400746660444493</c:v>
                </c:pt>
                <c:pt idx="8">
                  <c:v>0.15999421417206416</c:v>
                </c:pt>
                <c:pt idx="9">
                  <c:v>6.9595862909140646E-2</c:v>
                </c:pt>
                <c:pt idx="10">
                  <c:v>0.19000277586437334</c:v>
                </c:pt>
                <c:pt idx="11">
                  <c:v>1.8202310142869244E-2</c:v>
                </c:pt>
                <c:pt idx="12">
                  <c:v>0.20644888912343665</c:v>
                </c:pt>
                <c:pt idx="14">
                  <c:v>4.200000000000001E-2</c:v>
                </c:pt>
                <c:pt idx="15">
                  <c:v>0.19019670050761422</c:v>
                </c:pt>
                <c:pt idx="16">
                  <c:v>0.1</c:v>
                </c:pt>
                <c:pt idx="17">
                  <c:v>7.9296551051270814E-2</c:v>
                </c:pt>
              </c:numCache>
            </c:numRef>
          </c:val>
        </c:ser>
        <c:dLbls/>
        <c:axId val="77017088"/>
        <c:axId val="77018624"/>
      </c:barChart>
      <c:catAx>
        <c:axId val="77017088"/>
        <c:scaling>
          <c:orientation val="minMax"/>
        </c:scaling>
        <c:axPos val="b"/>
        <c:tickLblPos val="nextTo"/>
        <c:txPr>
          <a:bodyPr/>
          <a:lstStyle/>
          <a:p>
            <a:pPr>
              <a:defRPr lang="en-US"/>
            </a:pPr>
            <a:endParaRPr lang="en-US"/>
          </a:p>
        </c:txPr>
        <c:crossAx val="77018624"/>
        <c:crosses val="autoZero"/>
        <c:auto val="1"/>
        <c:lblAlgn val="ctr"/>
        <c:lblOffset val="100"/>
      </c:catAx>
      <c:valAx>
        <c:axId val="77018624"/>
        <c:scaling>
          <c:orientation val="minMax"/>
        </c:scaling>
        <c:axPos val="l"/>
        <c:majorGridlines/>
        <c:numFmt formatCode="0%" sourceLinked="1"/>
        <c:tickLblPos val="nextTo"/>
        <c:txPr>
          <a:bodyPr/>
          <a:lstStyle/>
          <a:p>
            <a:pPr>
              <a:defRPr lang="en-US"/>
            </a:pPr>
            <a:endParaRPr lang="en-US"/>
          </a:p>
        </c:txPr>
        <c:crossAx val="77017088"/>
        <c:crosses val="autoZero"/>
        <c:crossBetween val="between"/>
      </c:valAx>
    </c:plotArea>
    <c:legend>
      <c:legendPos val="r"/>
      <c:layout>
        <c:manualLayout>
          <c:xMode val="edge"/>
          <c:yMode val="edge"/>
          <c:x val="0.11048489424588358"/>
          <c:y val="7.9548481844494603E-2"/>
          <c:w val="0.21670756780402453"/>
          <c:h val="7.1843120325096432E-2"/>
        </c:manualLayout>
      </c:layout>
      <c:txPr>
        <a:bodyPr/>
        <a:lstStyle/>
        <a:p>
          <a:pPr>
            <a:defRPr lang="en-US"/>
          </a:pPr>
          <a:endParaRPr lang="en-US"/>
        </a:p>
      </c:txPr>
    </c:legend>
    <c:plotVisOnly val="1"/>
    <c:dispBlanksAs val="gap"/>
  </c:chart>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IN"/>
  <c:chart>
    <c:plotArea>
      <c:layout>
        <c:manualLayout>
          <c:layoutTarget val="inner"/>
          <c:xMode val="edge"/>
          <c:yMode val="edge"/>
          <c:x val="4.4020775316276503E-2"/>
          <c:y val="8.7360862005230092E-2"/>
          <c:w val="0.70369336785765002"/>
          <c:h val="0.80201715864127388"/>
        </c:manualLayout>
      </c:layout>
      <c:barChart>
        <c:barDir val="col"/>
        <c:grouping val="stacked"/>
        <c:ser>
          <c:idx val="2"/>
          <c:order val="0"/>
          <c:tx>
            <c:v>FOB</c:v>
          </c:tx>
          <c:spPr>
            <a:solidFill>
              <a:schemeClr val="accent1">
                <a:lumMod val="75000"/>
              </a:schemeClr>
            </a:solidFill>
          </c:spPr>
          <c:val>
            <c:numRef>
              <c:f>'[Infrastructure comparisons top 18 countries.xlsx]Fertilizer example'!$B$14:$C$14</c:f>
              <c:numCache>
                <c:formatCode>General</c:formatCode>
                <c:ptCount val="2"/>
                <c:pt idx="0">
                  <c:v>140</c:v>
                </c:pt>
                <c:pt idx="1">
                  <c:v>150</c:v>
                </c:pt>
              </c:numCache>
            </c:numRef>
          </c:val>
        </c:ser>
        <c:ser>
          <c:idx val="3"/>
          <c:order val="1"/>
          <c:tx>
            <c:v>CIF</c:v>
          </c:tx>
          <c:val>
            <c:numRef>
              <c:f>'[Infrastructure comparisons top 18 countries.xlsx]Fertilizer example'!$B$13:$C$13</c:f>
              <c:numCache>
                <c:formatCode>General</c:formatCode>
                <c:ptCount val="2"/>
                <c:pt idx="0">
                  <c:v>25</c:v>
                </c:pt>
                <c:pt idx="1">
                  <c:v>25</c:v>
                </c:pt>
              </c:numCache>
            </c:numRef>
          </c:val>
        </c:ser>
        <c:ser>
          <c:idx val="4"/>
          <c:order val="2"/>
          <c:tx>
            <c:v>Port Costs &amp; Duties</c:v>
          </c:tx>
          <c:spPr>
            <a:solidFill>
              <a:schemeClr val="tx2">
                <a:lumMod val="40000"/>
                <a:lumOff val="60000"/>
              </a:schemeClr>
            </a:solidFill>
          </c:spPr>
          <c:val>
            <c:numRef>
              <c:f>'[Infrastructure comparisons top 18 countries.xlsx]Fertilizer example'!$B$12:$C$12</c:f>
              <c:numCache>
                <c:formatCode>General</c:formatCode>
                <c:ptCount val="2"/>
                <c:pt idx="0">
                  <c:v>5</c:v>
                </c:pt>
                <c:pt idx="1">
                  <c:v>20</c:v>
                </c:pt>
              </c:numCache>
            </c:numRef>
          </c:val>
        </c:ser>
        <c:ser>
          <c:idx val="5"/>
          <c:order val="3"/>
          <c:tx>
            <c:v>Transport &amp; Storage</c:v>
          </c:tx>
          <c:val>
            <c:numRef>
              <c:f>'[Infrastructure comparisons top 18 countries.xlsx]Fertilizer example'!$B$11:$C$11</c:f>
              <c:numCache>
                <c:formatCode>General</c:formatCode>
                <c:ptCount val="2"/>
                <c:pt idx="0">
                  <c:v>30</c:v>
                </c:pt>
                <c:pt idx="1">
                  <c:v>85</c:v>
                </c:pt>
              </c:numCache>
            </c:numRef>
          </c:val>
        </c:ser>
        <c:ser>
          <c:idx val="6"/>
          <c:order val="4"/>
          <c:tx>
            <c:v>Importer Margin</c:v>
          </c:tx>
          <c:val>
            <c:numRef>
              <c:f>'[Infrastructure comparisons top 18 countries.xlsx]Fertilizer example'!$B$10:$C$10</c:f>
              <c:numCache>
                <c:formatCode>General</c:formatCode>
                <c:ptCount val="2"/>
                <c:pt idx="0">
                  <c:v>5</c:v>
                </c:pt>
                <c:pt idx="1">
                  <c:v>30</c:v>
                </c:pt>
              </c:numCache>
            </c:numRef>
          </c:val>
        </c:ser>
        <c:ser>
          <c:idx val="7"/>
          <c:order val="5"/>
          <c:tx>
            <c:v>Dealer Cost &amp; Margin</c:v>
          </c:tx>
          <c:val>
            <c:numRef>
              <c:f>'[Infrastructure comparisons top 18 countries.xlsx]Fertilizer example'!$B$9:$C$9</c:f>
              <c:numCache>
                <c:formatCode>General</c:formatCode>
                <c:ptCount val="2"/>
                <c:pt idx="0">
                  <c:v>21</c:v>
                </c:pt>
                <c:pt idx="1">
                  <c:v>30</c:v>
                </c:pt>
              </c:numCache>
            </c:numRef>
          </c:val>
        </c:ser>
        <c:ser>
          <c:idx val="8"/>
          <c:order val="6"/>
          <c:tx>
            <c:v>Corruption &amp; Red Tape</c:v>
          </c:tx>
          <c:spPr>
            <a:solidFill>
              <a:schemeClr val="accent3">
                <a:lumMod val="75000"/>
              </a:schemeClr>
            </a:solidFill>
          </c:spPr>
          <c:val>
            <c:numRef>
              <c:f>'[Infrastructure comparisons top 18 countries.xlsx]Fertilizer example'!$B$8:$C$8</c:f>
              <c:numCache>
                <c:formatCode>General</c:formatCode>
                <c:ptCount val="2"/>
                <c:pt idx="0">
                  <c:v>0</c:v>
                </c:pt>
                <c:pt idx="1">
                  <c:v>20</c:v>
                </c:pt>
              </c:numCache>
            </c:numRef>
          </c:val>
        </c:ser>
        <c:ser>
          <c:idx val="0"/>
          <c:order val="7"/>
          <c:tx>
            <c:v>Losses</c:v>
          </c:tx>
          <c:cat>
            <c:strRef>
              <c:f>'[Infrastructure comparisons top 18 countries.xlsx]Fertilizer example'!$B$4:$C$4</c:f>
              <c:strCache>
                <c:ptCount val="2"/>
                <c:pt idx="0">
                  <c:v>US</c:v>
                </c:pt>
                <c:pt idx="1">
                  <c:v>Zambia</c:v>
                </c:pt>
              </c:strCache>
            </c:strRef>
          </c:cat>
          <c:val>
            <c:numRef>
              <c:f>'[Infrastructure comparisons top 18 countries.xlsx]Fertilizer example'!$B$7:$C$7</c:f>
              <c:numCache>
                <c:formatCode>General</c:formatCode>
                <c:ptCount val="2"/>
                <c:pt idx="0">
                  <c:v>0</c:v>
                </c:pt>
                <c:pt idx="1">
                  <c:v>15</c:v>
                </c:pt>
              </c:numCache>
            </c:numRef>
          </c:val>
        </c:ser>
        <c:ser>
          <c:idx val="1"/>
          <c:order val="8"/>
          <c:tx>
            <c:v>Financial Costs</c:v>
          </c:tx>
          <c:cat>
            <c:strRef>
              <c:f>'[Infrastructure comparisons top 18 countries.xlsx]Fertilizer example'!$B$4:$C$4</c:f>
              <c:strCache>
                <c:ptCount val="2"/>
                <c:pt idx="0">
                  <c:v>US</c:v>
                </c:pt>
                <c:pt idx="1">
                  <c:v>Zambia</c:v>
                </c:pt>
              </c:strCache>
            </c:strRef>
          </c:cat>
          <c:val>
            <c:numRef>
              <c:f>'[Infrastructure comparisons top 18 countries.xlsx]Fertilizer example'!$B$6:$C$6</c:f>
              <c:numCache>
                <c:formatCode>General</c:formatCode>
                <c:ptCount val="2"/>
                <c:pt idx="0">
                  <c:v>0</c:v>
                </c:pt>
                <c:pt idx="1">
                  <c:v>39</c:v>
                </c:pt>
              </c:numCache>
            </c:numRef>
          </c:val>
        </c:ser>
        <c:dLbls/>
        <c:overlap val="100"/>
        <c:axId val="76963840"/>
        <c:axId val="76965376"/>
      </c:barChart>
      <c:catAx>
        <c:axId val="76963840"/>
        <c:scaling>
          <c:orientation val="minMax"/>
        </c:scaling>
        <c:axPos val="b"/>
        <c:tickLblPos val="nextTo"/>
        <c:txPr>
          <a:bodyPr/>
          <a:lstStyle/>
          <a:p>
            <a:pPr>
              <a:defRPr lang="en-US"/>
            </a:pPr>
            <a:endParaRPr lang="en-US"/>
          </a:p>
        </c:txPr>
        <c:crossAx val="76965376"/>
        <c:crosses val="autoZero"/>
        <c:auto val="1"/>
        <c:lblAlgn val="ctr"/>
        <c:lblOffset val="100"/>
      </c:catAx>
      <c:valAx>
        <c:axId val="76965376"/>
        <c:scaling>
          <c:orientation val="minMax"/>
        </c:scaling>
        <c:axPos val="l"/>
        <c:majorGridlines/>
        <c:numFmt formatCode="General" sourceLinked="1"/>
        <c:tickLblPos val="nextTo"/>
        <c:txPr>
          <a:bodyPr/>
          <a:lstStyle/>
          <a:p>
            <a:pPr>
              <a:defRPr lang="en-US"/>
            </a:pPr>
            <a:endParaRPr lang="en-US"/>
          </a:p>
        </c:txPr>
        <c:crossAx val="76963840"/>
        <c:crosses val="autoZero"/>
        <c:crossBetween val="between"/>
        <c:majorUnit val="100"/>
      </c:valAx>
    </c:plotArea>
    <c:legend>
      <c:legendPos val="r"/>
      <c:layout>
        <c:manualLayout>
          <c:xMode val="edge"/>
          <c:yMode val="edge"/>
          <c:x val="0.76254497806984134"/>
          <c:y val="2.3415901852583219E-2"/>
          <c:w val="0.23538159457734498"/>
          <c:h val="0.96491260647914989"/>
        </c:manualLayout>
      </c:layout>
      <c:txPr>
        <a:bodyPr/>
        <a:lstStyle/>
        <a:p>
          <a:pPr>
            <a:defRPr lang="en-US" sz="900"/>
          </a:pPr>
          <a:endParaRPr lang="en-US"/>
        </a:p>
      </c:txPr>
    </c:legend>
    <c:plotVisOnly val="1"/>
    <c:dispBlanksAs val="gap"/>
  </c:chart>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IN"/>
  <c:chart>
    <c:autoTitleDeleted val="1"/>
    <c:plotArea>
      <c:layout/>
      <c:scatterChart>
        <c:scatterStyle val="lineMarker"/>
        <c:ser>
          <c:idx val="1"/>
          <c:order val="0"/>
          <c:tx>
            <c:strRef>
              <c:f>'Road index'!$C$2</c:f>
              <c:strCache>
                <c:ptCount val="1"/>
                <c:pt idx="0">
                  <c:v>Index</c:v>
                </c:pt>
              </c:strCache>
            </c:strRef>
          </c:tx>
          <c:spPr>
            <a:ln w="28575">
              <a:noFill/>
            </a:ln>
          </c:spPr>
          <c:marker>
            <c:symbol val="none"/>
          </c:marker>
          <c:trendline>
            <c:spPr>
              <a:ln w="31750"/>
            </c:spPr>
            <c:trendlineType val="log"/>
          </c:trendline>
          <c:xVal>
            <c:numRef>
              <c:f>'Road index'!$B$3:$B$9</c:f>
              <c:numCache>
                <c:formatCode>General</c:formatCode>
                <c:ptCount val="7"/>
                <c:pt idx="0">
                  <c:v>75</c:v>
                </c:pt>
                <c:pt idx="1">
                  <c:v>225</c:v>
                </c:pt>
                <c:pt idx="2">
                  <c:v>375</c:v>
                </c:pt>
                <c:pt idx="3">
                  <c:v>400</c:v>
                </c:pt>
                <c:pt idx="4">
                  <c:v>850</c:v>
                </c:pt>
                <c:pt idx="5">
                  <c:v>1100</c:v>
                </c:pt>
                <c:pt idx="6">
                  <c:v>1500</c:v>
                </c:pt>
              </c:numCache>
            </c:numRef>
          </c:xVal>
          <c:yVal>
            <c:numRef>
              <c:f>'Road index'!$C$3:$C$9</c:f>
              <c:numCache>
                <c:formatCode>0%</c:formatCode>
                <c:ptCount val="7"/>
                <c:pt idx="0">
                  <c:v>0.05</c:v>
                </c:pt>
                <c:pt idx="1">
                  <c:v>0.2</c:v>
                </c:pt>
                <c:pt idx="2">
                  <c:v>0.42000000000000004</c:v>
                </c:pt>
                <c:pt idx="3">
                  <c:v>0.5</c:v>
                </c:pt>
                <c:pt idx="4">
                  <c:v>0.75000000000000011</c:v>
                </c:pt>
                <c:pt idx="5">
                  <c:v>0.92</c:v>
                </c:pt>
                <c:pt idx="6">
                  <c:v>1</c:v>
                </c:pt>
              </c:numCache>
            </c:numRef>
          </c:yVal>
        </c:ser>
        <c:dLbls/>
        <c:axId val="77381632"/>
        <c:axId val="77383168"/>
      </c:scatterChart>
      <c:valAx>
        <c:axId val="77381632"/>
        <c:scaling>
          <c:orientation val="minMax"/>
        </c:scaling>
        <c:axPos val="b"/>
        <c:numFmt formatCode="General" sourceLinked="1"/>
        <c:tickLblPos val="nextTo"/>
        <c:txPr>
          <a:bodyPr/>
          <a:lstStyle/>
          <a:p>
            <a:pPr>
              <a:defRPr lang="en-US"/>
            </a:pPr>
            <a:endParaRPr lang="en-US"/>
          </a:p>
        </c:txPr>
        <c:crossAx val="77383168"/>
        <c:crosses val="autoZero"/>
        <c:crossBetween val="midCat"/>
      </c:valAx>
      <c:valAx>
        <c:axId val="77383168"/>
        <c:scaling>
          <c:orientation val="minMax"/>
          <c:max val="1"/>
          <c:min val="0"/>
        </c:scaling>
        <c:axPos val="l"/>
        <c:majorGridlines/>
        <c:numFmt formatCode="0%" sourceLinked="1"/>
        <c:tickLblPos val="nextTo"/>
        <c:txPr>
          <a:bodyPr/>
          <a:lstStyle/>
          <a:p>
            <a:pPr>
              <a:defRPr lang="en-US"/>
            </a:pPr>
            <a:endParaRPr lang="en-US"/>
          </a:p>
        </c:txPr>
        <c:crossAx val="77381632"/>
        <c:crosses val="autoZero"/>
        <c:crossBetween val="midCat"/>
        <c:majorUnit val="0.2"/>
      </c:valAx>
    </c:plotArea>
    <c:plotVisOnly val="1"/>
    <c:dispBlanksAs val="gap"/>
  </c:chart>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autoTitleDeleted val="1"/>
    <c:plotArea>
      <c:layout/>
      <c:lineChart>
        <c:grouping val="standard"/>
        <c:ser>
          <c:idx val="0"/>
          <c:order val="0"/>
          <c:tx>
            <c:strRef>
              <c:f>Zambia!$B$12</c:f>
              <c:strCache>
                <c:ptCount val="1"/>
                <c:pt idx="0">
                  <c:v>Production
CORT (kt)</c:v>
                </c:pt>
              </c:strCache>
            </c:strRef>
          </c:tx>
          <c:spPr>
            <a:ln w="38100"/>
          </c:spPr>
          <c:marker>
            <c:symbol val="none"/>
          </c:marker>
          <c:cat>
            <c:strRef>
              <c:f>Zambia!$C$3:$O$3</c:f>
              <c:strCache>
                <c:ptCount val="13"/>
                <c:pt idx="0">
                  <c:v>FY00</c:v>
                </c:pt>
                <c:pt idx="1">
                  <c:v>FY01</c:v>
                </c:pt>
                <c:pt idx="2">
                  <c:v>FY02</c:v>
                </c:pt>
                <c:pt idx="3">
                  <c:v>FY03</c:v>
                </c:pt>
                <c:pt idx="4">
                  <c:v>FY04</c:v>
                </c:pt>
                <c:pt idx="5">
                  <c:v>FY05</c:v>
                </c:pt>
                <c:pt idx="6">
                  <c:v>FY06</c:v>
                </c:pt>
                <c:pt idx="7">
                  <c:v>FY07</c:v>
                </c:pt>
                <c:pt idx="8">
                  <c:v>FY08</c:v>
                </c:pt>
                <c:pt idx="9">
                  <c:v>FY09</c:v>
                </c:pt>
                <c:pt idx="10">
                  <c:v>FY10</c:v>
                </c:pt>
                <c:pt idx="11">
                  <c:v>FY11</c:v>
                </c:pt>
                <c:pt idx="12">
                  <c:v>FY12</c:v>
                </c:pt>
              </c:strCache>
            </c:strRef>
          </c:cat>
          <c:val>
            <c:numRef>
              <c:f>Zambia!$C$12:$O$12</c:f>
              <c:numCache>
                <c:formatCode>_ * #,##0_ ;_ * \-#,##0_ ;_ * "-"??_ ;_ @_ </c:formatCode>
                <c:ptCount val="13"/>
                <c:pt idx="0">
                  <c:v>2120.3420000000001</c:v>
                </c:pt>
                <c:pt idx="1">
                  <c:v>1988.4360000000001</c:v>
                </c:pt>
                <c:pt idx="2">
                  <c:v>1775.35</c:v>
                </c:pt>
                <c:pt idx="3">
                  <c:v>2423.0439999999999</c:v>
                </c:pt>
                <c:pt idx="4">
                  <c:v>2452.8160000000003</c:v>
                </c:pt>
                <c:pt idx="5">
                  <c:v>2259.6109999999999</c:v>
                </c:pt>
                <c:pt idx="6">
                  <c:v>2833.4730000000004</c:v>
                </c:pt>
                <c:pt idx="7">
                  <c:v>2723.3920000000003</c:v>
                </c:pt>
                <c:pt idx="8">
                  <c:v>2738.018</c:v>
                </c:pt>
                <c:pt idx="9">
                  <c:v>3659.663</c:v>
                </c:pt>
                <c:pt idx="10">
                  <c:v>4613.0860000000002</c:v>
                </c:pt>
                <c:pt idx="11">
                  <c:v>5021.2940000000008</c:v>
                </c:pt>
                <c:pt idx="12">
                  <c:v>4759.6100000000015</c:v>
                </c:pt>
              </c:numCache>
            </c:numRef>
          </c:val>
        </c:ser>
        <c:ser>
          <c:idx val="4"/>
          <c:order val="2"/>
          <c:tx>
            <c:strRef>
              <c:f>Zambia!$B$17</c:f>
              <c:strCache>
                <c:ptCount val="1"/>
                <c:pt idx="0">
                  <c:v>AG GDP
(Curr. USD Mil)</c:v>
                </c:pt>
              </c:strCache>
            </c:strRef>
          </c:tx>
          <c:spPr>
            <a:ln w="38100">
              <a:solidFill>
                <a:srgbClr val="C00000"/>
              </a:solidFill>
              <a:prstDash val="sysDash"/>
            </a:ln>
          </c:spPr>
          <c:marker>
            <c:symbol val="none"/>
          </c:marker>
          <c:val>
            <c:numRef>
              <c:f>Zambia!$C$17:$O$17</c:f>
              <c:numCache>
                <c:formatCode>_ * #,##0_ ;_ * \-#,##0_ ;_ * "-"??_ ;_ @_ </c:formatCode>
                <c:ptCount val="13"/>
                <c:pt idx="0">
                  <c:v>720.98706779999986</c:v>
                </c:pt>
                <c:pt idx="1">
                  <c:v>804.2063789112002</c:v>
                </c:pt>
                <c:pt idx="2">
                  <c:v>820.19378322700027</c:v>
                </c:pt>
                <c:pt idx="3">
                  <c:v>988.20310582640025</c:v>
                </c:pt>
                <c:pt idx="4">
                  <c:v>1273.8551072592002</c:v>
                </c:pt>
                <c:pt idx="5">
                  <c:v>1638.8644117370998</c:v>
                </c:pt>
                <c:pt idx="6">
                  <c:v>2315.9562578808009</c:v>
                </c:pt>
                <c:pt idx="7">
                  <c:v>2397.1531377537003</c:v>
                </c:pt>
                <c:pt idx="8">
                  <c:v>3076.0304202100001</c:v>
                </c:pt>
                <c:pt idx="9">
                  <c:v>2768.4473826564008</c:v>
                </c:pt>
                <c:pt idx="10">
                  <c:v>3310.8952521440001</c:v>
                </c:pt>
                <c:pt idx="11">
                  <c:v>3746.7077521484002</c:v>
                </c:pt>
                <c:pt idx="12">
                  <c:v>4218.3172636080017</c:v>
                </c:pt>
              </c:numCache>
            </c:numRef>
          </c:val>
        </c:ser>
        <c:dLbls/>
        <c:marker val="1"/>
        <c:axId val="136750976"/>
        <c:axId val="136752512"/>
      </c:lineChart>
      <c:lineChart>
        <c:grouping val="standard"/>
        <c:ser>
          <c:idx val="1"/>
          <c:order val="1"/>
          <c:tx>
            <c:strRef>
              <c:f>Zambia!$B$4</c:f>
              <c:strCache>
                <c:ptCount val="1"/>
                <c:pt idx="0">
                  <c:v>Tractors
Industry (units)</c:v>
                </c:pt>
              </c:strCache>
            </c:strRef>
          </c:tx>
          <c:spPr>
            <a:ln w="38100">
              <a:solidFill>
                <a:srgbClr val="0070C0"/>
              </a:solidFill>
            </a:ln>
          </c:spPr>
          <c:marker>
            <c:symbol val="none"/>
          </c:marker>
          <c:cat>
            <c:strRef>
              <c:f>Zambia!$C$3:$O$3</c:f>
              <c:strCache>
                <c:ptCount val="13"/>
                <c:pt idx="0">
                  <c:v>FY00</c:v>
                </c:pt>
                <c:pt idx="1">
                  <c:v>FY01</c:v>
                </c:pt>
                <c:pt idx="2">
                  <c:v>FY02</c:v>
                </c:pt>
                <c:pt idx="3">
                  <c:v>FY03</c:v>
                </c:pt>
                <c:pt idx="4">
                  <c:v>FY04</c:v>
                </c:pt>
                <c:pt idx="5">
                  <c:v>FY05</c:v>
                </c:pt>
                <c:pt idx="6">
                  <c:v>FY06</c:v>
                </c:pt>
                <c:pt idx="7">
                  <c:v>FY07</c:v>
                </c:pt>
                <c:pt idx="8">
                  <c:v>FY08</c:v>
                </c:pt>
                <c:pt idx="9">
                  <c:v>FY09</c:v>
                </c:pt>
                <c:pt idx="10">
                  <c:v>FY10</c:v>
                </c:pt>
                <c:pt idx="11">
                  <c:v>FY11</c:v>
                </c:pt>
                <c:pt idx="12">
                  <c:v>FY12</c:v>
                </c:pt>
              </c:strCache>
            </c:strRef>
          </c:cat>
          <c:val>
            <c:numRef>
              <c:f>Zambia!$C$4:$O$4</c:f>
              <c:numCache>
                <c:formatCode>_ * #,##0_ ;_ * \-#,##0_ ;_ * "-"??_ ;_ @_ </c:formatCode>
                <c:ptCount val="13"/>
                <c:pt idx="0">
                  <c:v>26</c:v>
                </c:pt>
                <c:pt idx="1">
                  <c:v>30</c:v>
                </c:pt>
                <c:pt idx="2">
                  <c:v>46</c:v>
                </c:pt>
                <c:pt idx="3">
                  <c:v>154</c:v>
                </c:pt>
                <c:pt idx="4">
                  <c:v>118</c:v>
                </c:pt>
                <c:pt idx="5">
                  <c:v>138</c:v>
                </c:pt>
                <c:pt idx="6">
                  <c:v>129</c:v>
                </c:pt>
                <c:pt idx="7">
                  <c:v>173</c:v>
                </c:pt>
                <c:pt idx="8">
                  <c:v>418</c:v>
                </c:pt>
                <c:pt idx="9">
                  <c:v>149</c:v>
                </c:pt>
                <c:pt idx="10">
                  <c:v>347</c:v>
                </c:pt>
                <c:pt idx="11">
                  <c:v>477</c:v>
                </c:pt>
                <c:pt idx="12">
                  <c:v>698</c:v>
                </c:pt>
              </c:numCache>
            </c:numRef>
          </c:val>
        </c:ser>
        <c:dLbls/>
        <c:marker val="1"/>
        <c:axId val="136854912"/>
        <c:axId val="136852992"/>
      </c:lineChart>
      <c:catAx>
        <c:axId val="136750976"/>
        <c:scaling>
          <c:orientation val="minMax"/>
        </c:scaling>
        <c:axPos val="b"/>
        <c:tickLblPos val="nextTo"/>
        <c:txPr>
          <a:bodyPr/>
          <a:lstStyle/>
          <a:p>
            <a:pPr>
              <a:defRPr lang="en-US" sz="1000" b="1"/>
            </a:pPr>
            <a:endParaRPr lang="en-US"/>
          </a:p>
        </c:txPr>
        <c:crossAx val="136752512"/>
        <c:crosses val="autoZero"/>
        <c:auto val="1"/>
        <c:lblAlgn val="ctr"/>
        <c:lblOffset val="100"/>
      </c:catAx>
      <c:valAx>
        <c:axId val="136752512"/>
        <c:scaling>
          <c:orientation val="minMax"/>
        </c:scaling>
        <c:axPos val="l"/>
        <c:majorGridlines>
          <c:spPr>
            <a:ln w="3175">
              <a:solidFill>
                <a:sysClr val="window" lastClr="FFFFFF">
                  <a:lumMod val="85000"/>
                </a:sysClr>
              </a:solidFill>
            </a:ln>
            <a:effectLst>
              <a:outerShdw blurRad="50800" dist="50800" dir="5400000" algn="ctr" rotWithShape="0">
                <a:sysClr val="window" lastClr="FFFFFF"/>
              </a:outerShdw>
            </a:effectLst>
          </c:spPr>
        </c:majorGridlines>
        <c:title>
          <c:tx>
            <c:rich>
              <a:bodyPr rot="-5400000" vert="horz"/>
              <a:lstStyle/>
              <a:p>
                <a:pPr>
                  <a:defRPr lang="en-US" sz="1100"/>
                </a:pPr>
                <a:r>
                  <a:rPr lang="en-ZA" sz="1100" dirty="0" smtClean="0"/>
                  <a:t>Production and GDP Units</a:t>
                </a:r>
                <a:endParaRPr lang="en-ZA" sz="1100" dirty="0"/>
              </a:p>
            </c:rich>
          </c:tx>
          <c:layout/>
        </c:title>
        <c:numFmt formatCode="_ * #,##0_ ;_ * \-#,##0_ ;_ * &quot;-&quot;??_ ;_ @_ " sourceLinked="1"/>
        <c:tickLblPos val="nextTo"/>
        <c:txPr>
          <a:bodyPr/>
          <a:lstStyle/>
          <a:p>
            <a:pPr>
              <a:defRPr lang="en-US" sz="1000" b="1"/>
            </a:pPr>
            <a:endParaRPr lang="en-US"/>
          </a:p>
        </c:txPr>
        <c:crossAx val="136750976"/>
        <c:crosses val="autoZero"/>
        <c:crossBetween val="between"/>
      </c:valAx>
      <c:valAx>
        <c:axId val="136852992"/>
        <c:scaling>
          <c:orientation val="minMax"/>
        </c:scaling>
        <c:axPos val="r"/>
        <c:title>
          <c:tx>
            <c:rich>
              <a:bodyPr rot="-5400000" vert="horz"/>
              <a:lstStyle/>
              <a:p>
                <a:pPr>
                  <a:defRPr lang="en-US" sz="1100"/>
                </a:pPr>
                <a:r>
                  <a:rPr lang="en-ZA" sz="1100" dirty="0" smtClean="0"/>
                  <a:t>Tractor</a:t>
                </a:r>
                <a:r>
                  <a:rPr lang="en-ZA" sz="1100" baseline="0" dirty="0" smtClean="0"/>
                  <a:t> Units</a:t>
                </a:r>
                <a:endParaRPr lang="en-ZA" sz="1100" dirty="0"/>
              </a:p>
            </c:rich>
          </c:tx>
          <c:layout/>
        </c:title>
        <c:numFmt formatCode="_ * #,##0_ ;_ * \-#,##0_ ;_ * &quot;-&quot;??_ ;_ @_ " sourceLinked="1"/>
        <c:tickLblPos val="nextTo"/>
        <c:txPr>
          <a:bodyPr/>
          <a:lstStyle/>
          <a:p>
            <a:pPr>
              <a:defRPr lang="en-US" b="1"/>
            </a:pPr>
            <a:endParaRPr lang="en-US"/>
          </a:p>
        </c:txPr>
        <c:crossAx val="136854912"/>
        <c:crosses val="max"/>
        <c:crossBetween val="between"/>
      </c:valAx>
      <c:catAx>
        <c:axId val="136854912"/>
        <c:scaling>
          <c:orientation val="minMax"/>
        </c:scaling>
        <c:delete val="1"/>
        <c:axPos val="b"/>
        <c:tickLblPos val="nextTo"/>
        <c:crossAx val="136852992"/>
        <c:crosses val="autoZero"/>
        <c:auto val="1"/>
        <c:lblAlgn val="ctr"/>
        <c:lblOffset val="100"/>
      </c:catAx>
    </c:plotArea>
    <c:legend>
      <c:legendPos val="t"/>
      <c:layout/>
      <c:txPr>
        <a:bodyPr/>
        <a:lstStyle/>
        <a:p>
          <a:pPr>
            <a:defRPr lang="en-US" sz="1050"/>
          </a:pPr>
          <a:endParaRPr lang="en-US"/>
        </a:p>
      </c:txPr>
    </c:legend>
    <c:plotVisOnly val="1"/>
    <c:dispBlanksAs val="gap"/>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IN"/>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142857142857137E-2"/>
          <c:y val="2.5859808371154824E-2"/>
          <c:w val="0.93559308932537277"/>
          <c:h val="0.91243570347957659"/>
        </c:manualLayout>
      </c:layout>
      <c:barChart>
        <c:barDir val="col"/>
        <c:grouping val="clustered"/>
        <c:ser>
          <c:idx val="0"/>
          <c:order val="0"/>
          <c:tx>
            <c:strRef>
              <c:f>'Group Data'!$A$16</c:f>
              <c:strCache>
                <c:ptCount val="1"/>
                <c:pt idx="0">
                  <c:v>Sub-Saharan Africa</c:v>
                </c:pt>
              </c:strCache>
            </c:strRef>
          </c:tx>
          <c:spPr>
            <a:gradFill>
              <a:gsLst>
                <a:gs pos="0">
                  <a:srgbClr val="767600"/>
                </a:gs>
                <a:gs pos="50000">
                  <a:srgbClr val="FFFF00"/>
                </a:gs>
                <a:gs pos="100000">
                  <a:srgbClr val="767600"/>
                </a:gs>
              </a:gsLst>
              <a:lin ang="0" scaled="0"/>
            </a:gradFill>
          </c:spPr>
          <c:dPt>
            <c:idx val="0"/>
            <c:spPr>
              <a:solidFill>
                <a:schemeClr val="bg2"/>
              </a:solidFill>
            </c:spPr>
          </c:dPt>
          <c:dPt>
            <c:idx val="1"/>
            <c:spPr>
              <a:solidFill>
                <a:schemeClr val="bg2"/>
              </a:solidFill>
            </c:spPr>
          </c:dPt>
          <c:dPt>
            <c:idx val="2"/>
            <c:spPr>
              <a:solidFill>
                <a:schemeClr val="bg2"/>
              </a:solidFill>
            </c:spPr>
          </c:dPt>
          <c:dPt>
            <c:idx val="3"/>
            <c:spPr>
              <a:solidFill>
                <a:schemeClr val="bg2"/>
              </a:solidFill>
            </c:spPr>
          </c:dPt>
          <c:dPt>
            <c:idx val="4"/>
            <c:spPr>
              <a:solidFill>
                <a:schemeClr val="bg2"/>
              </a:solidFill>
            </c:spPr>
          </c:dPt>
          <c:dPt>
            <c:idx val="5"/>
            <c:spPr>
              <a:solidFill>
                <a:schemeClr val="bg2"/>
              </a:solidFill>
            </c:spPr>
          </c:dPt>
          <c:dPt>
            <c:idx val="6"/>
            <c:spPr>
              <a:solidFill>
                <a:schemeClr val="bg2"/>
              </a:solidFill>
            </c:spPr>
          </c:dPt>
          <c:dPt>
            <c:idx val="7"/>
            <c:spPr>
              <a:solidFill>
                <a:schemeClr val="bg2"/>
              </a:solidFill>
            </c:spPr>
          </c:dPt>
          <c:dPt>
            <c:idx val="8"/>
            <c:spPr>
              <a:solidFill>
                <a:schemeClr val="bg2"/>
              </a:solidFill>
            </c:spPr>
          </c:dPt>
          <c:dPt>
            <c:idx val="9"/>
            <c:spPr>
              <a:solidFill>
                <a:schemeClr val="bg2"/>
              </a:solidFill>
            </c:spPr>
          </c:dPt>
          <c:dPt>
            <c:idx val="10"/>
            <c:spPr>
              <a:solidFill>
                <a:schemeClr val="bg2"/>
              </a:solidFill>
            </c:spPr>
          </c:dPt>
          <c:dPt>
            <c:idx val="11"/>
            <c:spPr>
              <a:solidFill>
                <a:schemeClr val="bg2"/>
              </a:solidFill>
            </c:spPr>
          </c:dPt>
          <c:dPt>
            <c:idx val="12"/>
            <c:spPr>
              <a:solidFill>
                <a:schemeClr val="accent2"/>
              </a:solidFill>
            </c:spPr>
          </c:dPt>
          <c:dPt>
            <c:idx val="13"/>
            <c:spPr>
              <a:solidFill>
                <a:schemeClr val="accent1"/>
              </a:solidFill>
            </c:spPr>
          </c:dPt>
          <c:dPt>
            <c:idx val="14"/>
            <c:spPr>
              <a:solidFill>
                <a:schemeClr val="accent1"/>
              </a:solidFill>
            </c:spPr>
          </c:dPt>
          <c:dPt>
            <c:idx val="15"/>
            <c:spPr>
              <a:solidFill>
                <a:schemeClr val="accent1"/>
              </a:solidFill>
            </c:spPr>
          </c:dPt>
          <c:dPt>
            <c:idx val="16"/>
            <c:spPr>
              <a:solidFill>
                <a:schemeClr val="accent1"/>
              </a:solidFill>
            </c:spPr>
          </c:dPt>
          <c:dPt>
            <c:idx val="17"/>
            <c:spPr>
              <a:solidFill>
                <a:schemeClr val="accent1"/>
              </a:solidFill>
            </c:spPr>
          </c:dPt>
          <c:dPt>
            <c:idx val="18"/>
            <c:spPr>
              <a:solidFill>
                <a:schemeClr val="tx2"/>
              </a:solidFill>
            </c:spPr>
          </c:dPt>
          <c:cat>
            <c:strRef>
              <c:f>'Group Data'!$H$1:$Z$1</c:f>
              <c:strCach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F</c:v>
                </c:pt>
                <c:pt idx="15">
                  <c:v>2015F</c:v>
                </c:pt>
                <c:pt idx="16">
                  <c:v>2016F</c:v>
                </c:pt>
                <c:pt idx="17">
                  <c:v>2017F</c:v>
                </c:pt>
                <c:pt idx="18">
                  <c:v>2018F</c:v>
                </c:pt>
              </c:strCache>
            </c:strRef>
          </c:cat>
          <c:val>
            <c:numRef>
              <c:f>'Group Data'!$H$16:$Z$16</c:f>
              <c:numCache>
                <c:formatCode>General</c:formatCode>
                <c:ptCount val="19"/>
                <c:pt idx="0">
                  <c:v>3.5549999999999997</c:v>
                </c:pt>
                <c:pt idx="1">
                  <c:v>4.8789999999999996</c:v>
                </c:pt>
                <c:pt idx="2">
                  <c:v>7.1289999999999987</c:v>
                </c:pt>
                <c:pt idx="3">
                  <c:v>4.823999999999999</c:v>
                </c:pt>
                <c:pt idx="4">
                  <c:v>6.9950000000000001</c:v>
                </c:pt>
                <c:pt idx="5">
                  <c:v>6.1839999999999993</c:v>
                </c:pt>
                <c:pt idx="6">
                  <c:v>6.3810000000000002</c:v>
                </c:pt>
                <c:pt idx="7">
                  <c:v>7.020999999999999</c:v>
                </c:pt>
                <c:pt idx="8">
                  <c:v>5.6349999999999989</c:v>
                </c:pt>
                <c:pt idx="9">
                  <c:v>2.7149999999999999</c:v>
                </c:pt>
                <c:pt idx="10">
                  <c:v>5.6</c:v>
                </c:pt>
                <c:pt idx="11">
                  <c:v>5.5</c:v>
                </c:pt>
                <c:pt idx="12">
                  <c:v>4.9000000000000004</c:v>
                </c:pt>
                <c:pt idx="13">
                  <c:v>5</c:v>
                </c:pt>
                <c:pt idx="14">
                  <c:v>6</c:v>
                </c:pt>
                <c:pt idx="15">
                  <c:v>5.7</c:v>
                </c:pt>
                <c:pt idx="16">
                  <c:v>5.6</c:v>
                </c:pt>
                <c:pt idx="17">
                  <c:v>5.5</c:v>
                </c:pt>
                <c:pt idx="18">
                  <c:v>5.7</c:v>
                </c:pt>
              </c:numCache>
            </c:numRef>
          </c:val>
        </c:ser>
        <c:dLbls/>
        <c:axId val="46496768"/>
        <c:axId val="46506752"/>
      </c:barChart>
      <c:catAx>
        <c:axId val="46496768"/>
        <c:scaling>
          <c:orientation val="minMax"/>
        </c:scaling>
        <c:axPos val="b"/>
        <c:numFmt formatCode="General" sourceLinked="1"/>
        <c:tickLblPos val="nextTo"/>
        <c:spPr>
          <a:noFill/>
        </c:spPr>
        <c:txPr>
          <a:bodyPr rot="0"/>
          <a:lstStyle/>
          <a:p>
            <a:pPr>
              <a:defRPr lang="en-US" sz="1000" b="1">
                <a:latin typeface="Verdana" panose="020B0604030504040204" pitchFamily="34" charset="0"/>
                <a:ea typeface="Verdana" panose="020B0604030504040204" pitchFamily="34" charset="0"/>
                <a:cs typeface="Verdana" panose="020B0604030504040204" pitchFamily="34" charset="0"/>
              </a:defRPr>
            </a:pPr>
            <a:endParaRPr lang="en-US"/>
          </a:p>
        </c:txPr>
        <c:crossAx val="46506752"/>
        <c:crosses val="autoZero"/>
        <c:auto val="1"/>
        <c:lblAlgn val="ctr"/>
        <c:lblOffset val="100"/>
        <c:tickLblSkip val="2"/>
      </c:catAx>
      <c:valAx>
        <c:axId val="46506752"/>
        <c:scaling>
          <c:orientation val="minMax"/>
        </c:scaling>
        <c:axPos val="l"/>
        <c:title>
          <c:tx>
            <c:rich>
              <a:bodyPr rot="0" vert="horz"/>
              <a:lstStyle/>
              <a:p>
                <a:pPr>
                  <a:defRPr lang="en-US" sz="800">
                    <a:latin typeface="Verdana" panose="020B0604030504040204" pitchFamily="34" charset="0"/>
                    <a:ea typeface="Verdana" panose="020B0604030504040204" pitchFamily="34" charset="0"/>
                    <a:cs typeface="Verdana" panose="020B0604030504040204" pitchFamily="34" charset="0"/>
                  </a:defRPr>
                </a:pPr>
                <a:r>
                  <a:rPr lang="en-US" sz="800">
                    <a:latin typeface="Verdana" panose="020B0604030504040204" pitchFamily="34" charset="0"/>
                    <a:ea typeface="Verdana" panose="020B0604030504040204" pitchFamily="34" charset="0"/>
                    <a:cs typeface="Verdana" panose="020B0604030504040204" pitchFamily="34" charset="0"/>
                  </a:rPr>
                  <a:t>Annual % Change</a:t>
                </a:r>
              </a:p>
            </c:rich>
          </c:tx>
          <c:layout>
            <c:manualLayout>
              <c:xMode val="edge"/>
              <c:yMode val="edge"/>
              <c:x val="5.2747252747252754E-2"/>
              <c:y val="2.9505759586405691E-2"/>
            </c:manualLayout>
          </c:layout>
          <c:spPr>
            <a:noFill/>
          </c:spPr>
        </c:title>
        <c:numFmt formatCode="0" sourceLinked="0"/>
        <c:tickLblPos val="nextTo"/>
        <c:spPr>
          <a:noFill/>
        </c:spPr>
        <c:txPr>
          <a:bodyPr/>
          <a:lstStyle/>
          <a:p>
            <a:pPr>
              <a:defRPr lang="en-US" sz="1000" b="0">
                <a:latin typeface="Verdana" panose="020B0604030504040204" pitchFamily="34" charset="0"/>
                <a:ea typeface="Verdana" panose="020B0604030504040204" pitchFamily="34" charset="0"/>
                <a:cs typeface="Verdana" panose="020B0604030504040204" pitchFamily="34" charset="0"/>
              </a:defRPr>
            </a:pPr>
            <a:endParaRPr lang="en-US"/>
          </a:p>
        </c:txPr>
        <c:crossAx val="46496768"/>
        <c:crosses val="autoZero"/>
        <c:crossBetween val="between"/>
      </c:valAx>
      <c:spPr>
        <a:noFill/>
        <a:ln w="25400">
          <a:noFill/>
        </a:ln>
      </c:spPr>
    </c:plotArea>
    <c:plotVisOnly val="1"/>
    <c:dispBlanksAs val="gap"/>
  </c:chart>
  <c:spPr>
    <a:noFill/>
    <a:ln>
      <a:noFill/>
    </a:ln>
  </c:sp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IN"/>
  <c:chart>
    <c:autoTitleDeleted val="1"/>
    <c:plotArea>
      <c:layout>
        <c:manualLayout>
          <c:layoutTarget val="inner"/>
          <c:xMode val="edge"/>
          <c:yMode val="edge"/>
          <c:x val="4.8612962241418714E-2"/>
          <c:y val="0.38164159136999254"/>
          <c:w val="0.88356278060185056"/>
          <c:h val="0.58328520008918805"/>
        </c:manualLayout>
      </c:layout>
      <c:barChart>
        <c:barDir val="col"/>
        <c:grouping val="stacked"/>
        <c:ser>
          <c:idx val="0"/>
          <c:order val="0"/>
          <c:tx>
            <c:strRef>
              <c:f>p2k0data_script!$G$4</c:f>
              <c:strCache>
                <c:ptCount val="1"/>
                <c:pt idx="0">
                  <c:v>More Developed Regions*</c:v>
                </c:pt>
              </c:strCache>
            </c:strRef>
          </c:tx>
          <c:cat>
            <c:numRef>
              <c:f>p2k0data_script!$H$3:$AB$3</c:f>
              <c:numCache>
                <c:formatCode>General</c:formatCode>
                <c:ptCount val="21"/>
                <c:pt idx="0">
                  <c:v>1950</c:v>
                </c:pt>
                <c:pt idx="5">
                  <c:v>1975</c:v>
                </c:pt>
                <c:pt idx="10">
                  <c:v>2000</c:v>
                </c:pt>
                <c:pt idx="15">
                  <c:v>2025</c:v>
                </c:pt>
                <c:pt idx="20">
                  <c:v>2050</c:v>
                </c:pt>
              </c:numCache>
            </c:numRef>
          </c:cat>
          <c:val>
            <c:numRef>
              <c:f>p2k0data_script!$H$4:$AB$4</c:f>
              <c:numCache>
                <c:formatCode>General</c:formatCode>
                <c:ptCount val="21"/>
                <c:pt idx="0">
                  <c:v>0.81294299999999997</c:v>
                </c:pt>
                <c:pt idx="1">
                  <c:v>0.86339600000000005</c:v>
                </c:pt>
                <c:pt idx="2">
                  <c:v>0.91503400000000001</c:v>
                </c:pt>
                <c:pt idx="3">
                  <c:v>0.96580900000000014</c:v>
                </c:pt>
                <c:pt idx="4">
                  <c:v>1.00823</c:v>
                </c:pt>
                <c:pt idx="5">
                  <c:v>1.0481259999999999</c:v>
                </c:pt>
                <c:pt idx="6">
                  <c:v>1.0830770000000001</c:v>
                </c:pt>
                <c:pt idx="7">
                  <c:v>1.1160680000000001</c:v>
                </c:pt>
                <c:pt idx="8">
                  <c:v>1.1482780000000001</c:v>
                </c:pt>
                <c:pt idx="9">
                  <c:v>1.173484</c:v>
                </c:pt>
                <c:pt idx="10">
                  <c:v>1.1933549999999999</c:v>
                </c:pt>
                <c:pt idx="11">
                  <c:v>1.2151489999999998</c:v>
                </c:pt>
                <c:pt idx="12">
                  <c:v>1.2409349999999997</c:v>
                </c:pt>
                <c:pt idx="13">
                  <c:v>1.2595879999999999</c:v>
                </c:pt>
                <c:pt idx="14">
                  <c:v>1.2749289999999998</c:v>
                </c:pt>
                <c:pt idx="15">
                  <c:v>1.2861570000000002</c:v>
                </c:pt>
                <c:pt idx="16">
                  <c:v>1.2939049999999999</c:v>
                </c:pt>
                <c:pt idx="17">
                  <c:v>1.298645</c:v>
                </c:pt>
                <c:pt idx="18">
                  <c:v>1.3013009999999998</c:v>
                </c:pt>
                <c:pt idx="19">
                  <c:v>1.302632</c:v>
                </c:pt>
                <c:pt idx="20">
                  <c:v>1.30311</c:v>
                </c:pt>
              </c:numCache>
            </c:numRef>
          </c:val>
        </c:ser>
        <c:ser>
          <c:idx val="1"/>
          <c:order val="1"/>
          <c:tx>
            <c:strRef>
              <c:f>p2k0data_script!$G$5</c:f>
              <c:strCache>
                <c:ptCount val="1"/>
                <c:pt idx="0">
                  <c:v>Less Developed Regions</c:v>
                </c:pt>
              </c:strCache>
            </c:strRef>
          </c:tx>
          <c:cat>
            <c:numRef>
              <c:f>p2k0data_script!$H$3:$AB$3</c:f>
              <c:numCache>
                <c:formatCode>General</c:formatCode>
                <c:ptCount val="21"/>
                <c:pt idx="0">
                  <c:v>1950</c:v>
                </c:pt>
                <c:pt idx="5">
                  <c:v>1975</c:v>
                </c:pt>
                <c:pt idx="10">
                  <c:v>2000</c:v>
                </c:pt>
                <c:pt idx="15">
                  <c:v>2025</c:v>
                </c:pt>
                <c:pt idx="20">
                  <c:v>2050</c:v>
                </c:pt>
              </c:numCache>
            </c:numRef>
          </c:cat>
          <c:val>
            <c:numRef>
              <c:f>p2k0data_script!$H$5:$AB$5</c:f>
              <c:numCache>
                <c:formatCode>General</c:formatCode>
                <c:ptCount val="21"/>
                <c:pt idx="0">
                  <c:v>1.5176069999999997</c:v>
                </c:pt>
                <c:pt idx="1">
                  <c:v>1.682466</c:v>
                </c:pt>
                <c:pt idx="2">
                  <c:v>1.8696949999999999</c:v>
                </c:pt>
                <c:pt idx="3">
                  <c:v>2.091294</c:v>
                </c:pt>
                <c:pt idx="4">
                  <c:v>2.3738549999999994</c:v>
                </c:pt>
                <c:pt idx="5">
                  <c:v>2.6756079999999995</c:v>
                </c:pt>
                <c:pt idx="6">
                  <c:v>2.9729819999999996</c:v>
                </c:pt>
                <c:pt idx="7">
                  <c:v>3.3011619999999997</c:v>
                </c:pt>
                <c:pt idx="8">
                  <c:v>3.6631840000000007</c:v>
                </c:pt>
                <c:pt idx="9">
                  <c:v>3.9833289999999999</c:v>
                </c:pt>
                <c:pt idx="10">
                  <c:v>4.2710940000000006</c:v>
                </c:pt>
                <c:pt idx="11">
                  <c:v>4.5506460000000004</c:v>
                </c:pt>
                <c:pt idx="12">
                  <c:v>4.8364419999999999</c:v>
                </c:pt>
                <c:pt idx="13">
                  <c:v>5.125068999999999</c:v>
                </c:pt>
                <c:pt idx="14">
                  <c:v>5.3924059999999994</c:v>
                </c:pt>
                <c:pt idx="15">
                  <c:v>5.6318570000000001</c:v>
                </c:pt>
                <c:pt idx="16">
                  <c:v>5.8439899999999989</c:v>
                </c:pt>
                <c:pt idx="17">
                  <c:v>6.0311990000000009</c:v>
                </c:pt>
                <c:pt idx="18">
                  <c:v>6.193333</c:v>
                </c:pt>
                <c:pt idx="19">
                  <c:v>6.3289619999999989</c:v>
                </c:pt>
                <c:pt idx="20">
                  <c:v>6.4372440000000006</c:v>
                </c:pt>
              </c:numCache>
            </c:numRef>
          </c:val>
        </c:ser>
        <c:ser>
          <c:idx val="2"/>
          <c:order val="2"/>
          <c:tx>
            <c:strRef>
              <c:f>p2k0data_script!$G$6</c:f>
              <c:strCache>
                <c:ptCount val="1"/>
                <c:pt idx="0">
                  <c:v>Least Developed Regions</c:v>
                </c:pt>
              </c:strCache>
            </c:strRef>
          </c:tx>
          <c:spPr>
            <a:solidFill>
              <a:schemeClr val="tx1"/>
            </a:solidFill>
            <a:ln w="25400">
              <a:noFill/>
            </a:ln>
          </c:spPr>
          <c:cat>
            <c:numRef>
              <c:f>p2k0data_script!$H$3:$AB$3</c:f>
              <c:numCache>
                <c:formatCode>General</c:formatCode>
                <c:ptCount val="21"/>
                <c:pt idx="0">
                  <c:v>1950</c:v>
                </c:pt>
                <c:pt idx="5">
                  <c:v>1975</c:v>
                </c:pt>
                <c:pt idx="10">
                  <c:v>2000</c:v>
                </c:pt>
                <c:pt idx="15">
                  <c:v>2025</c:v>
                </c:pt>
                <c:pt idx="20">
                  <c:v>2050</c:v>
                </c:pt>
              </c:numCache>
            </c:numRef>
          </c:cat>
          <c:val>
            <c:numRef>
              <c:f>p2k0data_script!$H$6:$AB$6</c:f>
              <c:numCache>
                <c:formatCode>General</c:formatCode>
                <c:ptCount val="21"/>
                <c:pt idx="0">
                  <c:v>0.19522900000000001</c:v>
                </c:pt>
                <c:pt idx="1">
                  <c:v>0.21578900000000004</c:v>
                </c:pt>
                <c:pt idx="2">
                  <c:v>0.24127399999999999</c:v>
                </c:pt>
                <c:pt idx="3">
                  <c:v>0.27201900000000001</c:v>
                </c:pt>
                <c:pt idx="4">
                  <c:v>0.30908800000000008</c:v>
                </c:pt>
                <c:pt idx="5">
                  <c:v>0.34728600000000004</c:v>
                </c:pt>
                <c:pt idx="6">
                  <c:v>0.39299000000000006</c:v>
                </c:pt>
                <c:pt idx="7">
                  <c:v>0.4463720000000001</c:v>
                </c:pt>
                <c:pt idx="8">
                  <c:v>0.509355</c:v>
                </c:pt>
                <c:pt idx="9">
                  <c:v>0.585009</c:v>
                </c:pt>
                <c:pt idx="10">
                  <c:v>0.66325100000000015</c:v>
                </c:pt>
                <c:pt idx="11">
                  <c:v>0.74830000000000008</c:v>
                </c:pt>
                <c:pt idx="12">
                  <c:v>0.83880600000000005</c:v>
                </c:pt>
                <c:pt idx="13">
                  <c:v>0.94012499999999999</c:v>
                </c:pt>
                <c:pt idx="14">
                  <c:v>1.0494139999999998</c:v>
                </c:pt>
                <c:pt idx="15">
                  <c:v>1.1653989999999999</c:v>
                </c:pt>
                <c:pt idx="16">
                  <c:v>1.287042</c:v>
                </c:pt>
                <c:pt idx="17">
                  <c:v>1.4136029999999997</c:v>
                </c:pt>
                <c:pt idx="18">
                  <c:v>1.5440530000000001</c:v>
                </c:pt>
                <c:pt idx="19">
                  <c:v>1.676844</c:v>
                </c:pt>
                <c:pt idx="20">
                  <c:v>1.8105909999999998</c:v>
                </c:pt>
              </c:numCache>
            </c:numRef>
          </c:val>
        </c:ser>
        <c:dLbls/>
        <c:overlap val="100"/>
        <c:axId val="76533760"/>
        <c:axId val="76535296"/>
      </c:barChart>
      <c:catAx>
        <c:axId val="76533760"/>
        <c:scaling>
          <c:orientation val="minMax"/>
        </c:scaling>
        <c:axPos val="b"/>
        <c:numFmt formatCode="General" sourceLinked="1"/>
        <c:majorTickMark val="none"/>
        <c:tickLblPos val="nextTo"/>
        <c:txPr>
          <a:bodyPr/>
          <a:lstStyle/>
          <a:p>
            <a:pPr>
              <a:defRPr lang="en-US" sz="800"/>
            </a:pPr>
            <a:endParaRPr lang="en-US"/>
          </a:p>
        </c:txPr>
        <c:crossAx val="76535296"/>
        <c:crosses val="autoZero"/>
        <c:auto val="1"/>
        <c:lblAlgn val="ctr"/>
        <c:lblOffset val="100"/>
      </c:catAx>
      <c:valAx>
        <c:axId val="76535296"/>
        <c:scaling>
          <c:orientation val="minMax"/>
          <c:max val="10"/>
        </c:scaling>
        <c:axPos val="l"/>
        <c:title>
          <c:tx>
            <c:rich>
              <a:bodyPr rot="0" vert="horz"/>
              <a:lstStyle/>
              <a:p>
                <a:pPr>
                  <a:defRPr lang="en-US"/>
                </a:pPr>
                <a:r>
                  <a:rPr lang="en-US" sz="800" dirty="0"/>
                  <a:t>Billions</a:t>
                </a:r>
              </a:p>
            </c:rich>
          </c:tx>
          <c:layout>
            <c:manualLayout>
              <c:xMode val="edge"/>
              <c:yMode val="edge"/>
              <c:x val="4.5572502125306974E-2"/>
              <c:y val="0.24448201904802352"/>
            </c:manualLayout>
          </c:layout>
        </c:title>
        <c:numFmt formatCode="General" sourceLinked="1"/>
        <c:majorTickMark val="none"/>
        <c:tickLblPos val="nextTo"/>
        <c:txPr>
          <a:bodyPr/>
          <a:lstStyle/>
          <a:p>
            <a:pPr>
              <a:defRPr lang="en-US" sz="800"/>
            </a:pPr>
            <a:endParaRPr lang="en-US"/>
          </a:p>
        </c:txPr>
        <c:crossAx val="76533760"/>
        <c:crosses val="autoZero"/>
        <c:crossBetween val="between"/>
        <c:majorUnit val="5"/>
      </c:valAx>
    </c:plotArea>
    <c:legend>
      <c:legendPos val="t"/>
      <c:layout>
        <c:manualLayout>
          <c:xMode val="edge"/>
          <c:yMode val="edge"/>
          <c:x val="0.14490242226748842"/>
          <c:y val="0.15507044795769939"/>
          <c:w val="0.68582761845151574"/>
          <c:h val="0.10536508711763269"/>
        </c:manualLayout>
      </c:layout>
      <c:txPr>
        <a:bodyPr/>
        <a:lstStyle/>
        <a:p>
          <a:pPr>
            <a:defRPr lang="en-US" sz="800"/>
          </a:pPr>
          <a:endParaRPr lang="en-US"/>
        </a:p>
      </c:txPr>
    </c:legend>
    <c:plotVisOnly val="1"/>
    <c:dispBlanksAs val="zero"/>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IN"/>
  <c:chart>
    <c:plotArea>
      <c:layout/>
      <c:pieChart>
        <c:varyColors val="1"/>
        <c:ser>
          <c:idx val="0"/>
          <c:order val="0"/>
          <c:dLbls>
            <c:dLbl>
              <c:idx val="0"/>
              <c:spPr/>
              <c:txPr>
                <a:bodyPr/>
                <a:lstStyle/>
                <a:p>
                  <a:pPr>
                    <a:defRPr lang="en-US" sz="1100" b="1">
                      <a:solidFill>
                        <a:schemeClr val="bg1"/>
                      </a:solidFill>
                    </a:defRPr>
                  </a:pPr>
                  <a:endParaRPr lang="en-US"/>
                </a:p>
              </c:txPr>
            </c:dLbl>
            <c:dLbl>
              <c:idx val="3"/>
              <c:layout/>
              <c:spPr/>
              <c:txPr>
                <a:bodyPr/>
                <a:lstStyle/>
                <a:p>
                  <a:pPr>
                    <a:defRPr lang="en-US" sz="1100" b="1">
                      <a:solidFill>
                        <a:schemeClr val="bg1"/>
                      </a:solidFill>
                    </a:defRPr>
                  </a:pPr>
                  <a:endParaRPr lang="en-US"/>
                </a:p>
              </c:txPr>
              <c:dLblPos val="inEnd"/>
              <c:showVal val="1"/>
            </c:dLbl>
            <c:txPr>
              <a:bodyPr/>
              <a:lstStyle/>
              <a:p>
                <a:pPr>
                  <a:defRPr lang="en-US" sz="1100" b="1"/>
                </a:pPr>
                <a:endParaRPr lang="en-US"/>
              </a:p>
            </c:txPr>
            <c:showVal val="1"/>
            <c:showLeaderLines val="1"/>
          </c:dLbls>
          <c:cat>
            <c:strRef>
              <c:f>'Harvested Area'!$D$4:$K$4</c:f>
              <c:strCache>
                <c:ptCount val="8"/>
                <c:pt idx="0">
                  <c:v>Cereals</c:v>
                </c:pt>
                <c:pt idx="1">
                  <c:v>Roots &amp; Tubers</c:v>
                </c:pt>
                <c:pt idx="2">
                  <c:v>Fibre crops</c:v>
                </c:pt>
                <c:pt idx="3">
                  <c:v>Oil Crops</c:v>
                </c:pt>
                <c:pt idx="4">
                  <c:v>Pulses</c:v>
                </c:pt>
                <c:pt idx="5">
                  <c:v>Treenuts</c:v>
                </c:pt>
                <c:pt idx="6">
                  <c:v>Vegetables &amp; Melons</c:v>
                </c:pt>
                <c:pt idx="7">
                  <c:v>Fruit</c:v>
                </c:pt>
              </c:strCache>
            </c:strRef>
          </c:cat>
          <c:val>
            <c:numRef>
              <c:f>'Harvested Area'!$D$56:$K$56</c:f>
              <c:numCache>
                <c:formatCode>0%</c:formatCode>
                <c:ptCount val="8"/>
                <c:pt idx="0">
                  <c:v>0.49859286139265269</c:v>
                </c:pt>
                <c:pt idx="1">
                  <c:v>0.12908439329843491</c:v>
                </c:pt>
                <c:pt idx="2">
                  <c:v>2.2728050181916343E-2</c:v>
                </c:pt>
                <c:pt idx="3">
                  <c:v>0.14891015770009894</c:v>
                </c:pt>
                <c:pt idx="4">
                  <c:v>0.11148140439119196</c:v>
                </c:pt>
                <c:pt idx="5">
                  <c:v>1.1886096635618583E-2</c:v>
                </c:pt>
                <c:pt idx="6">
                  <c:v>2.7936766966313191E-2</c:v>
                </c:pt>
                <c:pt idx="7">
                  <c:v>4.9380269433773528E-2</c:v>
                </c:pt>
              </c:numCache>
            </c:numRef>
          </c:val>
        </c:ser>
        <c:dLbls/>
        <c:firstSliceAng val="0"/>
      </c:pieChart>
      <c:spPr>
        <a:noFill/>
        <a:ln w="25400">
          <a:noFill/>
        </a:ln>
      </c:spPr>
    </c:plotArea>
    <c:plotVisOnly val="1"/>
    <c:dispBlanksAs val="zero"/>
  </c:chart>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lang val="en-IN"/>
  <c:chart>
    <c:plotArea>
      <c:layout/>
      <c:pieChart>
        <c:varyColors val="1"/>
        <c:ser>
          <c:idx val="0"/>
          <c:order val="0"/>
          <c:dLbls>
            <c:dLbl>
              <c:idx val="0"/>
              <c:spPr/>
              <c:txPr>
                <a:bodyPr/>
                <a:lstStyle/>
                <a:p>
                  <a:pPr>
                    <a:defRPr lang="en-US" sz="1100" b="1">
                      <a:solidFill>
                        <a:schemeClr val="bg1"/>
                      </a:solidFill>
                    </a:defRPr>
                  </a:pPr>
                  <a:endParaRPr lang="en-US"/>
                </a:p>
              </c:txPr>
            </c:dLbl>
            <c:dLbl>
              <c:idx val="2"/>
              <c:layout>
                <c:manualLayout>
                  <c:x val="2.7527276579216841E-2"/>
                  <c:y val="-1.5865618347371629E-2"/>
                </c:manualLayout>
              </c:layout>
              <c:dLblPos val="bestFit"/>
              <c:showVal val="1"/>
            </c:dLbl>
            <c:dLbl>
              <c:idx val="3"/>
              <c:spPr/>
              <c:txPr>
                <a:bodyPr/>
                <a:lstStyle/>
                <a:p>
                  <a:pPr>
                    <a:defRPr lang="en-US" sz="1100" b="1">
                      <a:solidFill>
                        <a:schemeClr val="bg1"/>
                      </a:solidFill>
                    </a:defRPr>
                  </a:pPr>
                  <a:endParaRPr lang="en-US"/>
                </a:p>
              </c:txPr>
            </c:dLbl>
            <c:txPr>
              <a:bodyPr/>
              <a:lstStyle/>
              <a:p>
                <a:pPr>
                  <a:defRPr lang="en-US" sz="1100" b="1"/>
                </a:pPr>
                <a:endParaRPr lang="en-US"/>
              </a:p>
            </c:txPr>
            <c:dLblPos val="inEnd"/>
            <c:showVal val="1"/>
            <c:showLeaderLines val="1"/>
          </c:dLbls>
          <c:cat>
            <c:strRef>
              <c:f>('Value by category'!$C$68:$I$68,'Value by category'!$K$68)</c:f>
              <c:strCache>
                <c:ptCount val="8"/>
                <c:pt idx="0">
                  <c:v>Cereals</c:v>
                </c:pt>
                <c:pt idx="1">
                  <c:v>Roots &amp; Tubers</c:v>
                </c:pt>
                <c:pt idx="2">
                  <c:v>Fibre Crops</c:v>
                </c:pt>
                <c:pt idx="3">
                  <c:v>Oilcrops</c:v>
                </c:pt>
                <c:pt idx="4">
                  <c:v>Pulses</c:v>
                </c:pt>
                <c:pt idx="5">
                  <c:v>Treenuts</c:v>
                </c:pt>
                <c:pt idx="6">
                  <c:v>Vegetables + Melon</c:v>
                </c:pt>
                <c:pt idx="7">
                  <c:v>Fruit</c:v>
                </c:pt>
              </c:strCache>
            </c:strRef>
          </c:cat>
          <c:val>
            <c:numRef>
              <c:f>('Value by category'!$C$96:$I$96,'Value by category'!$K$96)</c:f>
              <c:numCache>
                <c:formatCode>0%</c:formatCode>
                <c:ptCount val="8"/>
                <c:pt idx="0">
                  <c:v>0.24153779214765209</c:v>
                </c:pt>
                <c:pt idx="1">
                  <c:v>0.33088113624648685</c:v>
                </c:pt>
                <c:pt idx="2">
                  <c:v>5.7596721859205701E-3</c:v>
                </c:pt>
                <c:pt idx="3">
                  <c:v>5.3595471108735533E-2</c:v>
                </c:pt>
                <c:pt idx="4">
                  <c:v>3.6946690729328005E-2</c:v>
                </c:pt>
                <c:pt idx="5">
                  <c:v>1.1232350311715432E-2</c:v>
                </c:pt>
                <c:pt idx="6" formatCode="0.0%">
                  <c:v>0.1117084449862247</c:v>
                </c:pt>
                <c:pt idx="7" formatCode="0.0%">
                  <c:v>0.14697647343127443</c:v>
                </c:pt>
              </c:numCache>
            </c:numRef>
          </c:val>
        </c:ser>
        <c:dLbls/>
        <c:firstSliceAng val="0"/>
      </c:pieChart>
    </c:plotArea>
    <c:plotVisOnly val="1"/>
    <c:dispBlanksAs val="zero"/>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IN"/>
  <c:chart>
    <c:autoTitleDeleted val="1"/>
    <c:plotArea>
      <c:layout/>
      <c:barChart>
        <c:barDir val="col"/>
        <c:grouping val="clustered"/>
        <c:ser>
          <c:idx val="0"/>
          <c:order val="0"/>
          <c:spPr>
            <a:solidFill>
              <a:schemeClr val="tx2"/>
            </a:solidFill>
          </c:spPr>
          <c:cat>
            <c:strRef>
              <c:f>'Top 18 country harvest area'!$B$5:$B$22</c:f>
              <c:strCache>
                <c:ptCount val="18"/>
                <c:pt idx="0">
                  <c:v>Nigeria</c:v>
                </c:pt>
                <c:pt idx="1">
                  <c:v>Niger</c:v>
                </c:pt>
                <c:pt idx="2">
                  <c:v>Ethiopia</c:v>
                </c:pt>
                <c:pt idx="3">
                  <c:v>Sudan</c:v>
                </c:pt>
                <c:pt idx="4">
                  <c:v>Tanzania</c:v>
                </c:pt>
                <c:pt idx="5">
                  <c:v>Uganda</c:v>
                </c:pt>
                <c:pt idx="6">
                  <c:v>Burkina Faso</c:v>
                </c:pt>
                <c:pt idx="7">
                  <c:v>DRC</c:v>
                </c:pt>
                <c:pt idx="8">
                  <c:v>Mali</c:v>
                </c:pt>
                <c:pt idx="9">
                  <c:v>Mozambique</c:v>
                </c:pt>
                <c:pt idx="10">
                  <c:v>South Africa</c:v>
                </c:pt>
                <c:pt idx="11">
                  <c:v>Ghana</c:v>
                </c:pt>
                <c:pt idx="12">
                  <c:v>Kenya</c:v>
                </c:pt>
                <c:pt idx="13">
                  <c:v>Cameroon</c:v>
                </c:pt>
                <c:pt idx="14">
                  <c:v>Côte d Ivoire</c:v>
                </c:pt>
                <c:pt idx="15">
                  <c:v>Angola</c:v>
                </c:pt>
                <c:pt idx="16">
                  <c:v>Zimbabwe</c:v>
                </c:pt>
                <c:pt idx="17">
                  <c:v>Zambia</c:v>
                </c:pt>
              </c:strCache>
            </c:strRef>
          </c:cat>
          <c:val>
            <c:numRef>
              <c:f>'Top 18 country harvest area'!$D$5:$D$22</c:f>
              <c:numCache>
                <c:formatCode>General</c:formatCode>
                <c:ptCount val="18"/>
                <c:pt idx="0">
                  <c:v>40.8300202</c:v>
                </c:pt>
                <c:pt idx="1">
                  <c:v>15.674939</c:v>
                </c:pt>
                <c:pt idx="2">
                  <c:v>13.259541800000003</c:v>
                </c:pt>
                <c:pt idx="3">
                  <c:v>12.434854250000003</c:v>
                </c:pt>
                <c:pt idx="4">
                  <c:v>12.362373</c:v>
                </c:pt>
                <c:pt idx="5">
                  <c:v>7.2818437999999999</c:v>
                </c:pt>
                <c:pt idx="6">
                  <c:v>6.3727115000000003</c:v>
                </c:pt>
                <c:pt idx="7">
                  <c:v>6.0523135999999988</c:v>
                </c:pt>
                <c:pt idx="8">
                  <c:v>5.6284466799999979</c:v>
                </c:pt>
                <c:pt idx="9">
                  <c:v>5.5217587999999989</c:v>
                </c:pt>
                <c:pt idx="10">
                  <c:v>4.9196292000000001</c:v>
                </c:pt>
                <c:pt idx="11">
                  <c:v>4.7495876000000017</c:v>
                </c:pt>
                <c:pt idx="12">
                  <c:v>4.5100490000000004</c:v>
                </c:pt>
                <c:pt idx="13">
                  <c:v>4.4104391999999999</c:v>
                </c:pt>
                <c:pt idx="14">
                  <c:v>4.3919991999999999</c:v>
                </c:pt>
                <c:pt idx="15">
                  <c:v>3.8194119999999994</c:v>
                </c:pt>
                <c:pt idx="16">
                  <c:v>3.2482143999999993</c:v>
                </c:pt>
                <c:pt idx="17">
                  <c:v>1.7462041999999998</c:v>
                </c:pt>
              </c:numCache>
            </c:numRef>
          </c:val>
        </c:ser>
        <c:dLbls/>
        <c:gapWidth val="52"/>
        <c:overlap val="5"/>
        <c:axId val="48542464"/>
        <c:axId val="48544000"/>
      </c:barChart>
      <c:catAx>
        <c:axId val="48542464"/>
        <c:scaling>
          <c:orientation val="minMax"/>
        </c:scaling>
        <c:axPos val="b"/>
        <c:tickLblPos val="nextTo"/>
        <c:txPr>
          <a:bodyPr/>
          <a:lstStyle/>
          <a:p>
            <a:pPr>
              <a:defRPr lang="en-US"/>
            </a:pPr>
            <a:endParaRPr lang="en-US"/>
          </a:p>
        </c:txPr>
        <c:crossAx val="48544000"/>
        <c:crosses val="autoZero"/>
        <c:auto val="1"/>
        <c:lblAlgn val="ctr"/>
        <c:lblOffset val="100"/>
      </c:catAx>
      <c:valAx>
        <c:axId val="48544000"/>
        <c:scaling>
          <c:orientation val="minMax"/>
        </c:scaling>
        <c:axPos val="l"/>
        <c:majorGridlines>
          <c:spPr>
            <a:ln>
              <a:solidFill>
                <a:schemeClr val="bg1">
                  <a:lumMod val="75000"/>
                </a:schemeClr>
              </a:solidFill>
            </a:ln>
          </c:spPr>
        </c:majorGridlines>
        <c:numFmt formatCode="General" sourceLinked="1"/>
        <c:tickLblPos val="nextTo"/>
        <c:txPr>
          <a:bodyPr/>
          <a:lstStyle/>
          <a:p>
            <a:pPr>
              <a:defRPr lang="en-US" sz="1100"/>
            </a:pPr>
            <a:endParaRPr lang="en-US"/>
          </a:p>
        </c:txPr>
        <c:crossAx val="48542464"/>
        <c:crosses val="autoZero"/>
        <c:crossBetween val="between"/>
      </c:valAx>
    </c:plotArea>
    <c:plotVisOnly val="1"/>
    <c:dispBlanksAs val="gap"/>
  </c:chart>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IN"/>
  <c:chart>
    <c:plotArea>
      <c:layout/>
      <c:barChart>
        <c:barDir val="col"/>
        <c:grouping val="stacked"/>
        <c:ser>
          <c:idx val="0"/>
          <c:order val="0"/>
          <c:tx>
            <c:v>Current Yield</c:v>
          </c:tx>
          <c:cat>
            <c:strRef>
              <c:f>Sheet1!$A$4:$A$8</c:f>
              <c:strCache>
                <c:ptCount val="5"/>
                <c:pt idx="0">
                  <c:v>Africa 18</c:v>
                </c:pt>
                <c:pt idx="1">
                  <c:v>US</c:v>
                </c:pt>
                <c:pt idx="2">
                  <c:v>Brazil</c:v>
                </c:pt>
                <c:pt idx="3">
                  <c:v>India</c:v>
                </c:pt>
                <c:pt idx="4">
                  <c:v>China</c:v>
                </c:pt>
              </c:strCache>
            </c:strRef>
          </c:cat>
          <c:val>
            <c:numRef>
              <c:f>Sheet1!$R$4:$R$8</c:f>
              <c:numCache>
                <c:formatCode>General</c:formatCode>
                <c:ptCount val="5"/>
                <c:pt idx="0">
                  <c:v>1.51</c:v>
                </c:pt>
                <c:pt idx="1">
                  <c:v>6.94</c:v>
                </c:pt>
                <c:pt idx="2">
                  <c:v>3.09</c:v>
                </c:pt>
                <c:pt idx="3">
                  <c:v>2.94</c:v>
                </c:pt>
                <c:pt idx="4">
                  <c:v>6.23</c:v>
                </c:pt>
              </c:numCache>
            </c:numRef>
          </c:val>
        </c:ser>
        <c:ser>
          <c:idx val="1"/>
          <c:order val="1"/>
          <c:tx>
            <c:v>Potential Yield</c:v>
          </c:tx>
          <c:cat>
            <c:strRef>
              <c:f>Sheet1!$A$4:$A$8</c:f>
              <c:strCache>
                <c:ptCount val="5"/>
                <c:pt idx="0">
                  <c:v>Africa 18</c:v>
                </c:pt>
                <c:pt idx="1">
                  <c:v>US</c:v>
                </c:pt>
                <c:pt idx="2">
                  <c:v>Brazil</c:v>
                </c:pt>
                <c:pt idx="3">
                  <c:v>India</c:v>
                </c:pt>
                <c:pt idx="4">
                  <c:v>China</c:v>
                </c:pt>
              </c:strCache>
            </c:strRef>
          </c:cat>
          <c:val>
            <c:numRef>
              <c:f>Sheet1!$T$4:$T$8</c:f>
              <c:numCache>
                <c:formatCode>General</c:formatCode>
                <c:ptCount val="5"/>
                <c:pt idx="0">
                  <c:v>3.4400000000000004</c:v>
                </c:pt>
                <c:pt idx="1">
                  <c:v>0.43999999999999961</c:v>
                </c:pt>
                <c:pt idx="2">
                  <c:v>2.79</c:v>
                </c:pt>
                <c:pt idx="3">
                  <c:v>1.6700000000000006</c:v>
                </c:pt>
                <c:pt idx="4">
                  <c:v>1.119999999999999</c:v>
                </c:pt>
              </c:numCache>
            </c:numRef>
          </c:val>
        </c:ser>
        <c:dLbls/>
        <c:overlap val="100"/>
        <c:axId val="48004096"/>
        <c:axId val="48009984"/>
      </c:barChart>
      <c:scatterChart>
        <c:scatterStyle val="lineMarker"/>
        <c:ser>
          <c:idx val="2"/>
          <c:order val="2"/>
          <c:tx>
            <c:v>Yield Attainment</c:v>
          </c:tx>
          <c:spPr>
            <a:ln w="28575">
              <a:noFill/>
            </a:ln>
          </c:spPr>
          <c:marker>
            <c:spPr>
              <a:solidFill>
                <a:schemeClr val="tx1"/>
              </a:solidFill>
            </c:spPr>
          </c:marker>
          <c:xVal>
            <c:strRef>
              <c:f>Sheet1!$A$4:$A$8</c:f>
              <c:strCache>
                <c:ptCount val="5"/>
                <c:pt idx="0">
                  <c:v>Africa 18</c:v>
                </c:pt>
                <c:pt idx="1">
                  <c:v>US</c:v>
                </c:pt>
                <c:pt idx="2">
                  <c:v>Brazil</c:v>
                </c:pt>
                <c:pt idx="3">
                  <c:v>India</c:v>
                </c:pt>
                <c:pt idx="4">
                  <c:v>China</c:v>
                </c:pt>
              </c:strCache>
            </c:strRef>
          </c:xVal>
          <c:yVal>
            <c:numRef>
              <c:f>Sheet1!$U$4:$U$8</c:f>
              <c:numCache>
                <c:formatCode>0%</c:formatCode>
                <c:ptCount val="5"/>
                <c:pt idx="0">
                  <c:v>0.35000000000000003</c:v>
                </c:pt>
                <c:pt idx="1">
                  <c:v>0.94037940379403817</c:v>
                </c:pt>
                <c:pt idx="2">
                  <c:v>0.5255102040816324</c:v>
                </c:pt>
                <c:pt idx="3">
                  <c:v>0.63774403470715846</c:v>
                </c:pt>
                <c:pt idx="4">
                  <c:v>0.84761904761904783</c:v>
                </c:pt>
              </c:numCache>
            </c:numRef>
          </c:yVal>
        </c:ser>
        <c:dLbls/>
        <c:axId val="48025600"/>
        <c:axId val="48011520"/>
      </c:scatterChart>
      <c:catAx>
        <c:axId val="48004096"/>
        <c:scaling>
          <c:orientation val="minMax"/>
        </c:scaling>
        <c:axPos val="b"/>
        <c:tickLblPos val="nextTo"/>
        <c:txPr>
          <a:bodyPr/>
          <a:lstStyle/>
          <a:p>
            <a:pPr>
              <a:defRPr lang="en-US"/>
            </a:pPr>
            <a:endParaRPr lang="en-US"/>
          </a:p>
        </c:txPr>
        <c:crossAx val="48009984"/>
        <c:crosses val="autoZero"/>
        <c:auto val="1"/>
        <c:lblAlgn val="ctr"/>
        <c:lblOffset val="100"/>
      </c:catAx>
      <c:valAx>
        <c:axId val="48009984"/>
        <c:scaling>
          <c:orientation val="minMax"/>
        </c:scaling>
        <c:axPos val="l"/>
        <c:majorGridlines/>
        <c:numFmt formatCode="General" sourceLinked="1"/>
        <c:tickLblPos val="nextTo"/>
        <c:txPr>
          <a:bodyPr/>
          <a:lstStyle/>
          <a:p>
            <a:pPr>
              <a:defRPr lang="en-US"/>
            </a:pPr>
            <a:endParaRPr lang="en-US"/>
          </a:p>
        </c:txPr>
        <c:crossAx val="48004096"/>
        <c:crosses val="autoZero"/>
        <c:crossBetween val="between"/>
      </c:valAx>
      <c:valAx>
        <c:axId val="48011520"/>
        <c:scaling>
          <c:orientation val="minMax"/>
        </c:scaling>
        <c:axPos val="r"/>
        <c:numFmt formatCode="0%" sourceLinked="1"/>
        <c:tickLblPos val="nextTo"/>
        <c:txPr>
          <a:bodyPr/>
          <a:lstStyle/>
          <a:p>
            <a:pPr>
              <a:defRPr lang="en-US"/>
            </a:pPr>
            <a:endParaRPr lang="en-US"/>
          </a:p>
        </c:txPr>
        <c:crossAx val="48025600"/>
        <c:crosses val="max"/>
        <c:crossBetween val="midCat"/>
      </c:valAx>
      <c:valAx>
        <c:axId val="48025600"/>
        <c:scaling>
          <c:orientation val="minMax"/>
        </c:scaling>
        <c:delete val="1"/>
        <c:axPos val="t"/>
        <c:tickLblPos val="nextTo"/>
        <c:crossAx val="48011520"/>
        <c:crosses val="max"/>
        <c:crossBetween val="midCat"/>
      </c:valAx>
    </c:plotArea>
    <c:plotVisOnly val="1"/>
    <c:dispBlanksAs val="gap"/>
  </c:chart>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IN"/>
  <c:chart>
    <c:plotArea>
      <c:layout>
        <c:manualLayout>
          <c:layoutTarget val="inner"/>
          <c:xMode val="edge"/>
          <c:yMode val="edge"/>
          <c:x val="5.1438742050346639E-2"/>
          <c:y val="7.3551127685204928E-2"/>
          <c:w val="0.47070429157061749"/>
          <c:h val="0.80580724157126749"/>
        </c:manualLayout>
      </c:layout>
      <c:barChart>
        <c:barDir val="col"/>
        <c:grouping val="stacked"/>
        <c:ser>
          <c:idx val="0"/>
          <c:order val="0"/>
          <c:tx>
            <c:v>Current Yield (ton/ha)</c:v>
          </c:tx>
          <c:cat>
            <c:strRef>
              <c:f>Sheet1!$A$4:$A$9</c:f>
              <c:strCache>
                <c:ptCount val="6"/>
                <c:pt idx="0">
                  <c:v>Africa 18</c:v>
                </c:pt>
                <c:pt idx="1">
                  <c:v>US</c:v>
                </c:pt>
                <c:pt idx="2">
                  <c:v>Brazil</c:v>
                </c:pt>
                <c:pt idx="3">
                  <c:v>India</c:v>
                </c:pt>
                <c:pt idx="4">
                  <c:v>China</c:v>
                </c:pt>
                <c:pt idx="5">
                  <c:v>Russia</c:v>
                </c:pt>
              </c:strCache>
            </c:strRef>
          </c:cat>
          <c:val>
            <c:numRef>
              <c:f>Sheet1!$B$4:$B$9</c:f>
              <c:numCache>
                <c:formatCode>General</c:formatCode>
                <c:ptCount val="6"/>
                <c:pt idx="0">
                  <c:v>1.48</c:v>
                </c:pt>
                <c:pt idx="1">
                  <c:v>8.43</c:v>
                </c:pt>
                <c:pt idx="2">
                  <c:v>3.08</c:v>
                </c:pt>
                <c:pt idx="3">
                  <c:v>1.54</c:v>
                </c:pt>
                <c:pt idx="4">
                  <c:v>4.8</c:v>
                </c:pt>
                <c:pt idx="5">
                  <c:v>2.48</c:v>
                </c:pt>
              </c:numCache>
            </c:numRef>
          </c:val>
        </c:ser>
        <c:ser>
          <c:idx val="1"/>
          <c:order val="1"/>
          <c:tx>
            <c:v>Potential Yield (ton/ha)</c:v>
          </c:tx>
          <c:cat>
            <c:strRef>
              <c:f>Sheet1!$A$4:$A$9</c:f>
              <c:strCache>
                <c:ptCount val="6"/>
                <c:pt idx="0">
                  <c:v>Africa 18</c:v>
                </c:pt>
                <c:pt idx="1">
                  <c:v>US</c:v>
                </c:pt>
                <c:pt idx="2">
                  <c:v>Brazil</c:v>
                </c:pt>
                <c:pt idx="3">
                  <c:v>India</c:v>
                </c:pt>
                <c:pt idx="4">
                  <c:v>China</c:v>
                </c:pt>
                <c:pt idx="5">
                  <c:v>Russia</c:v>
                </c:pt>
              </c:strCache>
            </c:strRef>
          </c:cat>
          <c:val>
            <c:numRef>
              <c:f>Sheet1!$D$4:$D$9</c:f>
              <c:numCache>
                <c:formatCode>General</c:formatCode>
                <c:ptCount val="6"/>
                <c:pt idx="0">
                  <c:v>3.23</c:v>
                </c:pt>
                <c:pt idx="1">
                  <c:v>1.33</c:v>
                </c:pt>
                <c:pt idx="2">
                  <c:v>1.8200000000000003</c:v>
                </c:pt>
                <c:pt idx="3">
                  <c:v>1.7000000000000002</c:v>
                </c:pt>
                <c:pt idx="4">
                  <c:v>4.03</c:v>
                </c:pt>
                <c:pt idx="5">
                  <c:v>6.5599999999999987</c:v>
                </c:pt>
              </c:numCache>
            </c:numRef>
          </c:val>
        </c:ser>
        <c:dLbls/>
        <c:overlap val="100"/>
        <c:axId val="48642688"/>
        <c:axId val="48648576"/>
      </c:barChart>
      <c:scatterChart>
        <c:scatterStyle val="lineMarker"/>
        <c:ser>
          <c:idx val="2"/>
          <c:order val="2"/>
          <c:tx>
            <c:v>Yield Attainment %</c:v>
          </c:tx>
          <c:spPr>
            <a:ln w="28575">
              <a:noFill/>
            </a:ln>
          </c:spPr>
          <c:yVal>
            <c:numRef>
              <c:f>Sheet1!$E$4:$E$9</c:f>
              <c:numCache>
                <c:formatCode>0%</c:formatCode>
                <c:ptCount val="6"/>
                <c:pt idx="0">
                  <c:v>0.4</c:v>
                </c:pt>
                <c:pt idx="1">
                  <c:v>0.86372950819672145</c:v>
                </c:pt>
                <c:pt idx="2">
                  <c:v>0.62857142857142878</c:v>
                </c:pt>
                <c:pt idx="3">
                  <c:v>0.47530864197530875</c:v>
                </c:pt>
                <c:pt idx="4">
                  <c:v>0.54360135900339768</c:v>
                </c:pt>
                <c:pt idx="5">
                  <c:v>0.27433628318584091</c:v>
                </c:pt>
              </c:numCache>
            </c:numRef>
          </c:yVal>
        </c:ser>
        <c:dLbls/>
        <c:axId val="48651648"/>
        <c:axId val="48650112"/>
      </c:scatterChart>
      <c:catAx>
        <c:axId val="48642688"/>
        <c:scaling>
          <c:orientation val="minMax"/>
        </c:scaling>
        <c:axPos val="b"/>
        <c:tickLblPos val="nextTo"/>
        <c:txPr>
          <a:bodyPr/>
          <a:lstStyle/>
          <a:p>
            <a:pPr>
              <a:defRPr lang="en-US"/>
            </a:pPr>
            <a:endParaRPr lang="en-US"/>
          </a:p>
        </c:txPr>
        <c:crossAx val="48648576"/>
        <c:crosses val="autoZero"/>
        <c:auto val="1"/>
        <c:lblAlgn val="ctr"/>
        <c:lblOffset val="100"/>
      </c:catAx>
      <c:valAx>
        <c:axId val="48648576"/>
        <c:scaling>
          <c:orientation val="minMax"/>
        </c:scaling>
        <c:axPos val="l"/>
        <c:majorGridlines/>
        <c:numFmt formatCode="General" sourceLinked="1"/>
        <c:tickLblPos val="nextTo"/>
        <c:txPr>
          <a:bodyPr/>
          <a:lstStyle/>
          <a:p>
            <a:pPr>
              <a:defRPr lang="en-US"/>
            </a:pPr>
            <a:endParaRPr lang="en-US"/>
          </a:p>
        </c:txPr>
        <c:crossAx val="48642688"/>
        <c:crosses val="autoZero"/>
        <c:crossBetween val="between"/>
      </c:valAx>
      <c:valAx>
        <c:axId val="48650112"/>
        <c:scaling>
          <c:orientation val="minMax"/>
        </c:scaling>
        <c:axPos val="r"/>
        <c:numFmt formatCode="0%" sourceLinked="1"/>
        <c:tickLblPos val="nextTo"/>
        <c:txPr>
          <a:bodyPr/>
          <a:lstStyle/>
          <a:p>
            <a:pPr>
              <a:defRPr lang="en-US"/>
            </a:pPr>
            <a:endParaRPr lang="en-US"/>
          </a:p>
        </c:txPr>
        <c:crossAx val="48651648"/>
        <c:crosses val="max"/>
        <c:crossBetween val="midCat"/>
      </c:valAx>
      <c:valAx>
        <c:axId val="48651648"/>
        <c:scaling>
          <c:orientation val="minMax"/>
        </c:scaling>
        <c:delete val="1"/>
        <c:axPos val="b"/>
        <c:tickLblPos val="nextTo"/>
        <c:crossAx val="48650112"/>
        <c:crosses val="autoZero"/>
        <c:crossBetween val="midCat"/>
      </c:valAx>
    </c:plotArea>
    <c:plotVisOnly val="1"/>
    <c:dispBlanksAs val="gap"/>
  </c:chart>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IN"/>
  <c:chart>
    <c:plotArea>
      <c:layout>
        <c:manualLayout>
          <c:layoutTarget val="inner"/>
          <c:xMode val="edge"/>
          <c:yMode val="edge"/>
          <c:x val="0.20409921054522689"/>
          <c:y val="3.1312417217197692E-2"/>
          <c:w val="0.77163044482542675"/>
          <c:h val="0.67645184565296468"/>
        </c:manualLayout>
      </c:layout>
      <c:lineChart>
        <c:grouping val="standard"/>
        <c:ser>
          <c:idx val="0"/>
          <c:order val="0"/>
          <c:tx>
            <c:v>Fertilizer NPK</c:v>
          </c:tx>
          <c:cat>
            <c:strRef>
              <c:f>Graph!$A$7:$A$23</c:f>
              <c:strCache>
                <c:ptCount val="17"/>
                <c:pt idx="0">
                  <c:v>Niger</c:v>
                </c:pt>
                <c:pt idx="1">
                  <c:v>Uganda</c:v>
                </c:pt>
                <c:pt idx="2">
                  <c:v>Sudan</c:v>
                </c:pt>
                <c:pt idx="3">
                  <c:v>Cote d'Ivoire</c:v>
                </c:pt>
                <c:pt idx="4">
                  <c:v>Mozambique</c:v>
                </c:pt>
                <c:pt idx="5">
                  <c:v>DRC</c:v>
                </c:pt>
                <c:pt idx="6">
                  <c:v>Mali</c:v>
                </c:pt>
                <c:pt idx="7">
                  <c:v>Tanzania</c:v>
                </c:pt>
                <c:pt idx="8">
                  <c:v>Kenya</c:v>
                </c:pt>
                <c:pt idx="9">
                  <c:v>Ghana</c:v>
                </c:pt>
                <c:pt idx="10">
                  <c:v>Nigeria</c:v>
                </c:pt>
                <c:pt idx="11">
                  <c:v>Cameroon</c:v>
                </c:pt>
                <c:pt idx="12">
                  <c:v>Angola</c:v>
                </c:pt>
                <c:pt idx="13">
                  <c:v>Zambia</c:v>
                </c:pt>
                <c:pt idx="14">
                  <c:v>Ethiopia</c:v>
                </c:pt>
                <c:pt idx="15">
                  <c:v>South Africa</c:v>
                </c:pt>
                <c:pt idx="16">
                  <c:v>United States</c:v>
                </c:pt>
              </c:strCache>
            </c:strRef>
          </c:cat>
          <c:val>
            <c:numRef>
              <c:f>Graph!$C$7:$C$23</c:f>
              <c:numCache>
                <c:formatCode>0.00</c:formatCode>
                <c:ptCount val="17"/>
                <c:pt idx="0">
                  <c:v>0.36992373133310635</c:v>
                </c:pt>
                <c:pt idx="1">
                  <c:v>1.611095405888483</c:v>
                </c:pt>
                <c:pt idx="2">
                  <c:v>4.0117740863414859</c:v>
                </c:pt>
                <c:pt idx="3">
                  <c:v>23.598268849206349</c:v>
                </c:pt>
                <c:pt idx="4">
                  <c:v>4.4273838593251096</c:v>
                </c:pt>
                <c:pt idx="5">
                  <c:v>0.38740671641791052</c:v>
                </c:pt>
                <c:pt idx="6">
                  <c:v>17.0108525547986</c:v>
                </c:pt>
                <c:pt idx="7">
                  <c:v>5.4624441155617554</c:v>
                </c:pt>
                <c:pt idx="8">
                  <c:v>32.21274627894681</c:v>
                </c:pt>
                <c:pt idx="9">
                  <c:v>12.79361631289915</c:v>
                </c:pt>
                <c:pt idx="10">
                  <c:v>5.9581878129312225</c:v>
                </c:pt>
                <c:pt idx="11">
                  <c:v>8.4829984850650604</c:v>
                </c:pt>
                <c:pt idx="12">
                  <c:v>3.313720609798172</c:v>
                </c:pt>
                <c:pt idx="13">
                  <c:v>29.26511336093342</c:v>
                </c:pt>
                <c:pt idx="14">
                  <c:v>13.216694665504852</c:v>
                </c:pt>
                <c:pt idx="15">
                  <c:v>51.342012280525871</c:v>
                </c:pt>
                <c:pt idx="16">
                  <c:v>273</c:v>
                </c:pt>
              </c:numCache>
            </c:numRef>
          </c:val>
        </c:ser>
        <c:ser>
          <c:idx val="1"/>
          <c:order val="1"/>
          <c:tx>
            <c:v>Grain* NPK</c:v>
          </c:tx>
          <c:val>
            <c:numRef>
              <c:f>Graph!$H$7:$H$23</c:f>
              <c:numCache>
                <c:formatCode>0.00</c:formatCode>
                <c:ptCount val="17"/>
                <c:pt idx="0">
                  <c:v>16.394800000000004</c:v>
                </c:pt>
                <c:pt idx="1">
                  <c:v>16.876999999999999</c:v>
                </c:pt>
                <c:pt idx="2">
                  <c:v>17.600300000000001</c:v>
                </c:pt>
                <c:pt idx="3">
                  <c:v>21.940099999999997</c:v>
                </c:pt>
                <c:pt idx="4">
                  <c:v>22.1812</c:v>
                </c:pt>
                <c:pt idx="5">
                  <c:v>28.931999999999999</c:v>
                </c:pt>
                <c:pt idx="6">
                  <c:v>28.931999999999999</c:v>
                </c:pt>
                <c:pt idx="7">
                  <c:v>33.754000000000005</c:v>
                </c:pt>
                <c:pt idx="8">
                  <c:v>38.576000000000001</c:v>
                </c:pt>
                <c:pt idx="9">
                  <c:v>40.986999999999995</c:v>
                </c:pt>
                <c:pt idx="10">
                  <c:v>43.398000000000003</c:v>
                </c:pt>
                <c:pt idx="11">
                  <c:v>48.220000000000006</c:v>
                </c:pt>
                <c:pt idx="12">
                  <c:v>50.631</c:v>
                </c:pt>
                <c:pt idx="13">
                  <c:v>50.631</c:v>
                </c:pt>
                <c:pt idx="14">
                  <c:v>53.042000000000002</c:v>
                </c:pt>
                <c:pt idx="15">
                  <c:v>103.67299999999999</c:v>
                </c:pt>
                <c:pt idx="16">
                  <c:v>221.81200000000001</c:v>
                </c:pt>
              </c:numCache>
            </c:numRef>
          </c:val>
        </c:ser>
        <c:dLbls/>
        <c:marker val="1"/>
        <c:axId val="48793088"/>
        <c:axId val="48794624"/>
      </c:lineChart>
      <c:catAx>
        <c:axId val="48793088"/>
        <c:scaling>
          <c:orientation val="minMax"/>
        </c:scaling>
        <c:axPos val="b"/>
        <c:tickLblPos val="nextTo"/>
        <c:txPr>
          <a:bodyPr/>
          <a:lstStyle/>
          <a:p>
            <a:pPr>
              <a:defRPr lang="en-US"/>
            </a:pPr>
            <a:endParaRPr lang="en-US"/>
          </a:p>
        </c:txPr>
        <c:crossAx val="48794624"/>
        <c:crosses val="autoZero"/>
        <c:auto val="1"/>
        <c:lblAlgn val="ctr"/>
        <c:lblOffset val="100"/>
      </c:catAx>
      <c:valAx>
        <c:axId val="48794624"/>
        <c:scaling>
          <c:orientation val="minMax"/>
        </c:scaling>
        <c:axPos val="l"/>
        <c:majorGridlines/>
        <c:numFmt formatCode="0" sourceLinked="0"/>
        <c:tickLblPos val="nextTo"/>
        <c:txPr>
          <a:bodyPr/>
          <a:lstStyle/>
          <a:p>
            <a:pPr>
              <a:defRPr lang="en-US"/>
            </a:pPr>
            <a:endParaRPr lang="en-US"/>
          </a:p>
        </c:txPr>
        <c:crossAx val="48793088"/>
        <c:crosses val="autoZero"/>
        <c:crossBetween val="between"/>
      </c:valAx>
    </c:plotArea>
    <c:legend>
      <c:legendPos val="t"/>
      <c:layout>
        <c:manualLayout>
          <c:xMode val="edge"/>
          <c:yMode val="edge"/>
          <c:x val="0.32311490724676373"/>
          <c:y val="4.4719642242862061E-2"/>
          <c:w val="0.60138419790094677"/>
          <c:h val="6.2204724409448832E-2"/>
        </c:manualLayout>
      </c:layout>
      <c:spPr>
        <a:solidFill>
          <a:schemeClr val="bg1"/>
        </a:solidFill>
      </c:spPr>
      <c:txPr>
        <a:bodyPr/>
        <a:lstStyle/>
        <a:p>
          <a:pPr>
            <a:defRPr lang="en-US"/>
          </a:pPr>
          <a:endParaRPr lang="en-US"/>
        </a:p>
      </c:txPr>
    </c:legend>
    <c:plotVisOnly val="1"/>
    <c:dispBlanksAs val="gap"/>
  </c:chart>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dgm:t>
        <a:bodyPr lIns="0"/>
        <a:lstStyle/>
        <a:p>
          <a:r>
            <a:rPr lang="en-US" sz="1800" dirty="0" smtClean="0"/>
            <a:t>Agronomic</a:t>
          </a:r>
        </a:p>
        <a:p>
          <a:r>
            <a:rPr lang="en-US" sz="1800" dirty="0" smtClean="0"/>
            <a:t>Fundamentals</a:t>
          </a:r>
          <a:endParaRPr lang="en-US" sz="1800" dirty="0"/>
        </a:p>
      </dgm:t>
    </dgm:pt>
    <dgm:pt modelId="{3938A332-DB37-4F78-92AA-CA9886DEAE7D}" type="parTrans" cxnId="{09C675B0-00D0-4C03-8688-D39B2337C802}">
      <dgm:prSet/>
      <dgm:spPr/>
      <dgm:t>
        <a:bodyPr/>
        <a:lstStyle/>
        <a:p>
          <a:endParaRPr lang="en-US" sz="2000"/>
        </a:p>
      </dgm:t>
    </dgm:pt>
    <dgm:pt modelId="{93FD8214-A213-490D-BC11-486A650D87D9}" type="sibTrans" cxnId="{09C675B0-00D0-4C03-8688-D39B2337C802}">
      <dgm:prSet/>
      <dgm:spPr/>
      <dgm:t>
        <a:bodyPr/>
        <a:lstStyle/>
        <a:p>
          <a:endParaRPr lang="en-US" sz="2000"/>
        </a:p>
      </dgm:t>
    </dgm:pt>
    <dgm:pt modelId="{3FFE60C6-5493-4DD4-BBE6-B3A4619017CC}">
      <dgm:prSet phldrT="[Text]" custT="1"/>
      <dgm:spPr/>
      <dgm:t>
        <a:bodyPr lIns="0" rIns="0"/>
        <a:lstStyle/>
        <a:p>
          <a:r>
            <a:rPr lang="en-US" sz="1600" dirty="0" smtClean="0">
              <a:solidFill>
                <a:schemeClr val="bg1"/>
              </a:solidFill>
            </a:rPr>
            <a:t>Input</a:t>
          </a:r>
        </a:p>
        <a:p>
          <a:r>
            <a:rPr lang="en-US" sz="1600" dirty="0" smtClean="0">
              <a:solidFill>
                <a:schemeClr val="bg1"/>
              </a:solidFill>
            </a:rPr>
            <a:t>Placement</a:t>
          </a:r>
          <a:endParaRPr lang="en-US" sz="1600" dirty="0">
            <a:solidFill>
              <a:schemeClr val="bg1"/>
            </a:solidFill>
          </a:endParaRPr>
        </a:p>
      </dgm:t>
    </dgm:pt>
    <dgm:pt modelId="{7BD36542-20DA-4FBE-8973-C426D00BAC4B}" type="parTrans" cxnId="{8654E97F-1F31-410F-89A3-E2BE32ED3BFF}">
      <dgm:prSet/>
      <dgm:spPr/>
      <dgm:t>
        <a:bodyPr/>
        <a:lstStyle/>
        <a:p>
          <a:endParaRPr lang="en-US" sz="2000"/>
        </a:p>
      </dgm:t>
    </dgm:pt>
    <dgm:pt modelId="{5F44E9E3-E2D9-4E50-9CD4-4EC251A8BF1C}" type="sibTrans" cxnId="{8654E97F-1F31-410F-89A3-E2BE32ED3BFF}">
      <dgm:prSet/>
      <dgm:spPr/>
      <dgm:t>
        <a:bodyPr/>
        <a:lstStyle/>
        <a:p>
          <a:endParaRPr lang="en-US" sz="2000"/>
        </a:p>
      </dgm:t>
    </dgm:pt>
    <dgm:pt modelId="{EF7FBD8A-C26E-4C85-90A0-A2A4E053BB99}">
      <dgm:prSet phldrT="[Text]" custT="1"/>
      <dgm:spPr/>
      <dgm:t>
        <a:bodyPr lIns="0" rIns="0"/>
        <a:lstStyle/>
        <a:p>
          <a:r>
            <a:rPr lang="en-US" sz="1600" dirty="0" smtClean="0"/>
            <a:t>Application </a:t>
          </a:r>
        </a:p>
        <a:p>
          <a:r>
            <a:rPr lang="en-US" sz="1600" dirty="0" smtClean="0"/>
            <a:t>Timing</a:t>
          </a:r>
          <a:endParaRPr lang="en-US" sz="1600" dirty="0"/>
        </a:p>
      </dgm:t>
    </dgm:pt>
    <dgm:pt modelId="{4532011D-2361-46E2-A02E-6D61338F6C27}" type="parTrans" cxnId="{CB90D655-1B9C-49EC-A774-53F4BBD77504}">
      <dgm:prSet/>
      <dgm:spPr/>
      <dgm:t>
        <a:bodyPr/>
        <a:lstStyle/>
        <a:p>
          <a:endParaRPr lang="en-US" sz="2000"/>
        </a:p>
      </dgm:t>
    </dgm:pt>
    <dgm:pt modelId="{D0BFBFD3-8B66-4D76-9BFB-40EC9D662356}" type="sibTrans" cxnId="{CB90D655-1B9C-49EC-A774-53F4BBD77504}">
      <dgm:prSet/>
      <dgm:spPr/>
      <dgm:t>
        <a:bodyPr/>
        <a:lstStyle/>
        <a:p>
          <a:endParaRPr lang="en-US" sz="2000"/>
        </a:p>
      </dgm:t>
    </dgm:pt>
    <dgm:pt modelId="{236BE4F3-81F0-4A45-850A-113F136CD8F8}">
      <dgm:prSet phldrT="[Text]" custT="1"/>
      <dgm:spPr/>
      <dgm:t>
        <a:bodyPr lIns="0" rIns="0"/>
        <a:lstStyle/>
        <a:p>
          <a:r>
            <a:rPr lang="en-US" sz="1600" dirty="0" smtClean="0"/>
            <a:t>Application </a:t>
          </a:r>
        </a:p>
        <a:p>
          <a:r>
            <a:rPr lang="en-US" sz="1600" dirty="0" smtClean="0"/>
            <a:t>Rate</a:t>
          </a:r>
          <a:endParaRPr lang="en-US" sz="1600" dirty="0"/>
        </a:p>
      </dgm:t>
    </dgm:pt>
    <dgm:pt modelId="{687077C6-A573-4169-AFEE-E539CD3EB363}" type="parTrans" cxnId="{464376DC-7D31-44E1-8380-E8EDA89C033E}">
      <dgm:prSet/>
      <dgm:spPr/>
      <dgm:t>
        <a:bodyPr/>
        <a:lstStyle/>
        <a:p>
          <a:endParaRPr lang="en-US" sz="2000"/>
        </a:p>
      </dgm:t>
    </dgm:pt>
    <dgm:pt modelId="{F768B871-C217-4B83-8C87-1DF943DA90AE}" type="sibTrans" cxnId="{464376DC-7D31-44E1-8380-E8EDA89C033E}">
      <dgm:prSet/>
      <dgm:spPr/>
      <dgm:t>
        <a:bodyPr/>
        <a:lstStyle/>
        <a:p>
          <a:endParaRPr lang="en-US" sz="2000"/>
        </a:p>
      </dgm:t>
    </dgm:pt>
    <dgm:pt modelId="{B48D71CD-EA37-42AF-8DE4-EB95924E320C}">
      <dgm:prSet phldrT="[Text]" custT="1"/>
      <dgm:spPr/>
      <dgm:t>
        <a:bodyPr lIns="0" rIns="0"/>
        <a:lstStyle/>
        <a:p>
          <a:r>
            <a:rPr lang="en-US" sz="1600" dirty="0" smtClean="0"/>
            <a:t>Input </a:t>
          </a:r>
        </a:p>
        <a:p>
          <a:r>
            <a:rPr lang="en-US" sz="1600" dirty="0" smtClean="0"/>
            <a:t>Form</a:t>
          </a:r>
          <a:endParaRPr lang="en-US" sz="1600" dirty="0"/>
        </a:p>
      </dgm:t>
    </dgm:pt>
    <dgm:pt modelId="{CD7EC3CA-59BA-471D-BE56-98296DEB7C95}" type="parTrans" cxnId="{3686D84A-F320-49DC-95E8-E181E7FE7715}">
      <dgm:prSet/>
      <dgm:spPr/>
      <dgm:t>
        <a:bodyPr/>
        <a:lstStyle/>
        <a:p>
          <a:endParaRPr lang="en-US" sz="2000"/>
        </a:p>
      </dgm:t>
    </dgm:pt>
    <dgm:pt modelId="{95C08E60-D43D-48F6-8ED9-57F214188ABF}" type="sibTrans" cxnId="{3686D84A-F320-49DC-95E8-E181E7FE7715}">
      <dgm:prSet/>
      <dgm:spPr/>
      <dgm:t>
        <a:bodyPr/>
        <a:lstStyle/>
        <a:p>
          <a:endParaRPr lang="en-US" sz="24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160981" custScaleY="65664"/>
      <dgm:spPr/>
      <dgm:t>
        <a:bodyPr/>
        <a:lstStyle/>
        <a:p>
          <a:endParaRPr lang="en-US"/>
        </a:p>
      </dgm:t>
    </dgm:pt>
    <dgm:pt modelId="{FF740D9C-BB4A-4A69-A650-C33BF11DC02D}" type="pres">
      <dgm:prSet presAssocID="{3FFE60C6-5493-4DD4-BBE6-B3A4619017CC}" presName="node" presStyleLbl="node1" presStyleIdx="0" presStyleCnt="4" custScaleX="164364">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custScaleX="163263" custRadScaleRad="144824" custRadScaleInc="974">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dgm:spPr/>
      <dgm:t>
        <a:bodyPr/>
        <a:lstStyle/>
        <a:p>
          <a:endParaRPr lang="en-US"/>
        </a:p>
      </dgm:t>
    </dgm:pt>
    <dgm:pt modelId="{0A17AF9F-C04E-41A0-AEFF-82D66218B9C8}" type="pres">
      <dgm:prSet presAssocID="{236BE4F3-81F0-4A45-850A-113F136CD8F8}" presName="node" presStyleLbl="node1" presStyleIdx="2" presStyleCnt="4" custScaleX="163263">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custScaleX="163263" custRadScaleRad="141830" custRadScaleInc="-995">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8464CFFD-A938-4EF3-BAC9-F5EF07267C51}" type="presOf" srcId="{5F44E9E3-E2D9-4E50-9CD4-4EC251A8BF1C}" destId="{11A38E0B-38D6-4789-8277-9D34D0F92EF0}" srcOrd="0" destOrd="0" presId="urn:microsoft.com/office/officeart/2005/8/layout/radial6"/>
    <dgm:cxn modelId="{8654E97F-1F31-410F-89A3-E2BE32ED3BFF}" srcId="{C9D9F858-39C1-42AB-911C-822FED233670}" destId="{3FFE60C6-5493-4DD4-BBE6-B3A4619017CC}" srcOrd="0" destOrd="0" parTransId="{7BD36542-20DA-4FBE-8973-C426D00BAC4B}" sibTransId="{5F44E9E3-E2D9-4E50-9CD4-4EC251A8BF1C}"/>
    <dgm:cxn modelId="{09C675B0-00D0-4C03-8688-D39B2337C802}" srcId="{C3697A96-AF43-442D-9FCA-C2B49082A025}" destId="{C9D9F858-39C1-42AB-911C-822FED233670}" srcOrd="0" destOrd="0" parTransId="{3938A332-DB37-4F78-92AA-CA9886DEAE7D}" sibTransId="{93FD8214-A213-490D-BC11-486A650D87D9}"/>
    <dgm:cxn modelId="{127DD9BA-8312-4250-9134-D4AC0462ACA8}" type="presOf" srcId="{C9D9F858-39C1-42AB-911C-822FED233670}" destId="{6E8D21F7-0FE0-4624-9708-8E88D634BF2D}" srcOrd="0" destOrd="0" presId="urn:microsoft.com/office/officeart/2005/8/layout/radial6"/>
    <dgm:cxn modelId="{3686D84A-F320-49DC-95E8-E181E7FE7715}" srcId="{C9D9F858-39C1-42AB-911C-822FED233670}" destId="{B48D71CD-EA37-42AF-8DE4-EB95924E320C}" srcOrd="3" destOrd="0" parTransId="{CD7EC3CA-59BA-471D-BE56-98296DEB7C95}" sibTransId="{95C08E60-D43D-48F6-8ED9-57F214188ABF}"/>
    <dgm:cxn modelId="{F350ABC2-03DE-41A3-BB06-AAA4054E76ED}" type="presOf" srcId="{C3697A96-AF43-442D-9FCA-C2B49082A025}" destId="{3E6553F9-EB93-4BD2-B857-827BEB672EF1}" srcOrd="0" destOrd="0" presId="urn:microsoft.com/office/officeart/2005/8/layout/radial6"/>
    <dgm:cxn modelId="{39252405-7196-43FB-AFD1-2BBAB769586C}" type="presOf" srcId="{3FFE60C6-5493-4DD4-BBE6-B3A4619017CC}" destId="{FF740D9C-BB4A-4A69-A650-C33BF11DC02D}" srcOrd="0" destOrd="0" presId="urn:microsoft.com/office/officeart/2005/8/layout/radial6"/>
    <dgm:cxn modelId="{09600C4C-12E3-46C6-AB82-0CB3B1771CCD}" type="presOf" srcId="{F768B871-C217-4B83-8C87-1DF943DA90AE}" destId="{CB829480-2B86-443C-8B10-3467EFC8B8A4}" srcOrd="0" destOrd="0" presId="urn:microsoft.com/office/officeart/2005/8/layout/radial6"/>
    <dgm:cxn modelId="{2AE99B00-CC0F-4A6B-B3FC-34180CD3C3DA}" type="presOf" srcId="{95C08E60-D43D-48F6-8ED9-57F214188ABF}" destId="{C78EC8AF-3388-43CC-BC05-5EB25A273C51}" srcOrd="0" destOrd="0" presId="urn:microsoft.com/office/officeart/2005/8/layout/radial6"/>
    <dgm:cxn modelId="{0EEB720A-82C0-46EA-8F39-2BDBCB8636DC}" type="presOf" srcId="{EF7FBD8A-C26E-4C85-90A0-A2A4E053BB99}" destId="{8F5137FA-152A-4104-9AB8-ED4CBB4AFC1E}"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572A9E4D-209B-45F3-8285-E1BFA1DC85A7}" type="presOf" srcId="{D0BFBFD3-8B66-4D76-9BFB-40EC9D662356}" destId="{D750D8F3-B7C9-468B-BF26-35D7E8E952D3}" srcOrd="0" destOrd="0" presId="urn:microsoft.com/office/officeart/2005/8/layout/radial6"/>
    <dgm:cxn modelId="{464376DC-7D31-44E1-8380-E8EDA89C033E}" srcId="{C9D9F858-39C1-42AB-911C-822FED233670}" destId="{236BE4F3-81F0-4A45-850A-113F136CD8F8}" srcOrd="2" destOrd="0" parTransId="{687077C6-A573-4169-AFEE-E539CD3EB363}" sibTransId="{F768B871-C217-4B83-8C87-1DF943DA90AE}"/>
    <dgm:cxn modelId="{42BF3D8C-DEAF-4399-AD38-36432C6F02D7}" type="presOf" srcId="{B48D71CD-EA37-42AF-8DE4-EB95924E320C}" destId="{A71994AC-2F45-41D0-B3D8-B04A1FEC4434}" srcOrd="0" destOrd="0" presId="urn:microsoft.com/office/officeart/2005/8/layout/radial6"/>
    <dgm:cxn modelId="{82BB4CE6-9C60-40F3-BFCF-D47CA90E1195}" type="presOf" srcId="{236BE4F3-81F0-4A45-850A-113F136CD8F8}" destId="{0A17AF9F-C04E-41A0-AEFF-82D66218B9C8}" srcOrd="0" destOrd="0" presId="urn:microsoft.com/office/officeart/2005/8/layout/radial6"/>
    <dgm:cxn modelId="{174A1A64-E29A-4826-82E2-DE13E06134A6}" type="presParOf" srcId="{3E6553F9-EB93-4BD2-B857-827BEB672EF1}" destId="{6E8D21F7-0FE0-4624-9708-8E88D634BF2D}" srcOrd="0" destOrd="0" presId="urn:microsoft.com/office/officeart/2005/8/layout/radial6"/>
    <dgm:cxn modelId="{8A84BD6D-1567-4298-9663-06CB7A904E65}" type="presParOf" srcId="{3E6553F9-EB93-4BD2-B857-827BEB672EF1}" destId="{FF740D9C-BB4A-4A69-A650-C33BF11DC02D}" srcOrd="1" destOrd="0" presId="urn:microsoft.com/office/officeart/2005/8/layout/radial6"/>
    <dgm:cxn modelId="{94B96B3C-5CB2-478A-AFD5-724BFBB735A6}" type="presParOf" srcId="{3E6553F9-EB93-4BD2-B857-827BEB672EF1}" destId="{3936E49F-3426-4AD1-B8B5-AE3239B05171}" srcOrd="2" destOrd="0" presId="urn:microsoft.com/office/officeart/2005/8/layout/radial6"/>
    <dgm:cxn modelId="{B6EAF447-F987-4682-8080-5F60A6C088A4}" type="presParOf" srcId="{3E6553F9-EB93-4BD2-B857-827BEB672EF1}" destId="{11A38E0B-38D6-4789-8277-9D34D0F92EF0}" srcOrd="3" destOrd="0" presId="urn:microsoft.com/office/officeart/2005/8/layout/radial6"/>
    <dgm:cxn modelId="{83603554-5200-4AC6-9A2C-7F83400D4215}" type="presParOf" srcId="{3E6553F9-EB93-4BD2-B857-827BEB672EF1}" destId="{8F5137FA-152A-4104-9AB8-ED4CBB4AFC1E}" srcOrd="4" destOrd="0" presId="urn:microsoft.com/office/officeart/2005/8/layout/radial6"/>
    <dgm:cxn modelId="{50DF7B71-BBC8-403F-82C9-1E7D6E5CEE35}" type="presParOf" srcId="{3E6553F9-EB93-4BD2-B857-827BEB672EF1}" destId="{A6847734-9CF1-4AD3-855E-8AD6D6DFF608}" srcOrd="5" destOrd="0" presId="urn:microsoft.com/office/officeart/2005/8/layout/radial6"/>
    <dgm:cxn modelId="{26159940-B7E0-4403-8F90-197A88F41D35}" type="presParOf" srcId="{3E6553F9-EB93-4BD2-B857-827BEB672EF1}" destId="{D750D8F3-B7C9-468B-BF26-35D7E8E952D3}" srcOrd="6" destOrd="0" presId="urn:microsoft.com/office/officeart/2005/8/layout/radial6"/>
    <dgm:cxn modelId="{F4A325F0-241A-436B-A943-ABC29CC2F61C}" type="presParOf" srcId="{3E6553F9-EB93-4BD2-B857-827BEB672EF1}" destId="{0A17AF9F-C04E-41A0-AEFF-82D66218B9C8}" srcOrd="7" destOrd="0" presId="urn:microsoft.com/office/officeart/2005/8/layout/radial6"/>
    <dgm:cxn modelId="{FC37128D-EBBE-4383-9FA6-3E428533FE65}" type="presParOf" srcId="{3E6553F9-EB93-4BD2-B857-827BEB672EF1}" destId="{033F80D6-EF96-4D4E-B299-F841D85DAFC9}" srcOrd="8" destOrd="0" presId="urn:microsoft.com/office/officeart/2005/8/layout/radial6"/>
    <dgm:cxn modelId="{E84B8DBB-FBA7-4265-9A64-A3D07A41A6EB}" type="presParOf" srcId="{3E6553F9-EB93-4BD2-B857-827BEB672EF1}" destId="{CB829480-2B86-443C-8B10-3467EFC8B8A4}" srcOrd="9" destOrd="0" presId="urn:microsoft.com/office/officeart/2005/8/layout/radial6"/>
    <dgm:cxn modelId="{DD69FEC2-EEAD-43C6-B52F-9DF869B8A415}" type="presParOf" srcId="{3E6553F9-EB93-4BD2-B857-827BEB672EF1}" destId="{A71994AC-2F45-41D0-B3D8-B04A1FEC4434}" srcOrd="10" destOrd="0" presId="urn:microsoft.com/office/officeart/2005/8/layout/radial6"/>
    <dgm:cxn modelId="{AA030F3D-6F45-43CB-A002-82E8B4D61FBE}" type="presParOf" srcId="{3E6553F9-EB93-4BD2-B857-827BEB672EF1}" destId="{B66084F5-7676-4D43-9B80-580E7774462D}" srcOrd="11" destOrd="0" presId="urn:microsoft.com/office/officeart/2005/8/layout/radial6"/>
    <dgm:cxn modelId="{8A0CA193-0B13-4366-855C-82A9FC67E69B}" type="presParOf" srcId="{3E6553F9-EB93-4BD2-B857-827BEB672EF1}" destId="{C78EC8AF-3388-43CC-BC05-5EB25A273C51}" srcOrd="12" destOrd="0" presId="urn:microsoft.com/office/officeart/2005/8/layout/radial6"/>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dgm:t>
        <a:bodyPr/>
        <a:lstStyle/>
        <a:p>
          <a:r>
            <a:rPr lang="en-US" sz="800" dirty="0" smtClean="0"/>
            <a:t>Agronomic</a:t>
          </a:r>
        </a:p>
        <a:p>
          <a:r>
            <a:rPr lang="en-US" sz="800" dirty="0" smtClean="0"/>
            <a:t>Fundamentals</a:t>
          </a:r>
          <a:endParaRPr lang="en-US" sz="800" dirty="0"/>
        </a:p>
      </dgm:t>
    </dgm:pt>
    <dgm:pt modelId="{3938A332-DB37-4F78-92AA-CA9886DEAE7D}" type="parTrans" cxnId="{09C675B0-00D0-4C03-8688-D39B2337C802}">
      <dgm:prSet/>
      <dgm:spPr/>
      <dgm:t>
        <a:bodyPr/>
        <a:lstStyle/>
        <a:p>
          <a:endParaRPr lang="en-US"/>
        </a:p>
      </dgm:t>
    </dgm:pt>
    <dgm:pt modelId="{93FD8214-A213-490D-BC11-486A650D87D9}" type="sibTrans" cxnId="{09C675B0-00D0-4C03-8688-D39B2337C802}">
      <dgm:prSet/>
      <dgm:spPr/>
      <dgm:t>
        <a:bodyPr/>
        <a:lstStyle/>
        <a:p>
          <a:endParaRPr lang="en-US"/>
        </a:p>
      </dgm:t>
    </dgm:pt>
    <dgm:pt modelId="{3FFE60C6-5493-4DD4-BBE6-B3A4619017CC}">
      <dgm:prSet phldrT="[Text]"/>
      <dgm:spPr/>
      <dgm:t>
        <a:bodyPr/>
        <a:lstStyle/>
        <a:p>
          <a:r>
            <a:rPr lang="en-US" dirty="0" smtClean="0">
              <a:solidFill>
                <a:schemeClr val="bg1"/>
              </a:solidFill>
            </a:rPr>
            <a:t>Input Placement</a:t>
          </a:r>
          <a:endParaRPr lang="en-US" dirty="0">
            <a:solidFill>
              <a:schemeClr val="bg1"/>
            </a:solidFill>
          </a:endParaRPr>
        </a:p>
      </dgm:t>
    </dgm:pt>
    <dgm:pt modelId="{7BD36542-20DA-4FBE-8973-C426D00BAC4B}" type="parTrans" cxnId="{8654E97F-1F31-410F-89A3-E2BE32ED3BFF}">
      <dgm:prSet/>
      <dgm:spPr/>
      <dgm:t>
        <a:bodyPr/>
        <a:lstStyle/>
        <a:p>
          <a:endParaRPr lang="en-US"/>
        </a:p>
      </dgm:t>
    </dgm:pt>
    <dgm:pt modelId="{5F44E9E3-E2D9-4E50-9CD4-4EC251A8BF1C}" type="sibTrans" cxnId="{8654E97F-1F31-410F-89A3-E2BE32ED3BFF}">
      <dgm:prSet/>
      <dgm:spPr/>
      <dgm:t>
        <a:bodyPr/>
        <a:lstStyle/>
        <a:p>
          <a:endParaRPr lang="en-US"/>
        </a:p>
      </dgm:t>
    </dgm:pt>
    <dgm:pt modelId="{EF7FBD8A-C26E-4C85-90A0-A2A4E053BB99}">
      <dgm:prSet phldrT="[Text]"/>
      <dgm:spPr/>
      <dgm:t>
        <a:bodyPr/>
        <a:lstStyle/>
        <a:p>
          <a:r>
            <a:rPr lang="en-US" dirty="0" smtClean="0"/>
            <a:t>Application Timing</a:t>
          </a:r>
          <a:endParaRPr lang="en-US" dirty="0"/>
        </a:p>
      </dgm:t>
    </dgm:pt>
    <dgm:pt modelId="{4532011D-2361-46E2-A02E-6D61338F6C27}" type="parTrans" cxnId="{CB90D655-1B9C-49EC-A774-53F4BBD77504}">
      <dgm:prSet/>
      <dgm:spPr/>
      <dgm:t>
        <a:bodyPr/>
        <a:lstStyle/>
        <a:p>
          <a:endParaRPr lang="en-US"/>
        </a:p>
      </dgm:t>
    </dgm:pt>
    <dgm:pt modelId="{D0BFBFD3-8B66-4D76-9BFB-40EC9D662356}" type="sibTrans" cxnId="{CB90D655-1B9C-49EC-A774-53F4BBD77504}">
      <dgm:prSet/>
      <dgm:spPr/>
      <dgm:t>
        <a:bodyPr/>
        <a:lstStyle/>
        <a:p>
          <a:endParaRPr lang="en-US"/>
        </a:p>
      </dgm:t>
    </dgm:pt>
    <dgm:pt modelId="{236BE4F3-81F0-4A45-850A-113F136CD8F8}">
      <dgm:prSet phldrT="[Text]" custT="1"/>
      <dgm:spPr>
        <a:solidFill>
          <a:schemeClr val="accent2"/>
        </a:solidFill>
      </dgm:spPr>
      <dgm:t>
        <a:bodyPr/>
        <a:lstStyle/>
        <a:p>
          <a:r>
            <a:rPr lang="en-US" sz="1400" dirty="0" smtClean="0">
              <a:solidFill>
                <a:schemeClr val="tx1"/>
              </a:solidFill>
            </a:rPr>
            <a:t>Application Rate</a:t>
          </a:r>
          <a:endParaRPr lang="en-US" sz="1400" dirty="0">
            <a:solidFill>
              <a:schemeClr val="tx1"/>
            </a:solidFill>
          </a:endParaRPr>
        </a:p>
      </dgm:t>
    </dgm:pt>
    <dgm:pt modelId="{687077C6-A573-4169-AFEE-E539CD3EB363}" type="parTrans" cxnId="{464376DC-7D31-44E1-8380-E8EDA89C033E}">
      <dgm:prSet/>
      <dgm:spPr/>
      <dgm:t>
        <a:bodyPr/>
        <a:lstStyle/>
        <a:p>
          <a:endParaRPr lang="en-US"/>
        </a:p>
      </dgm:t>
    </dgm:pt>
    <dgm:pt modelId="{F768B871-C217-4B83-8C87-1DF943DA90AE}" type="sibTrans" cxnId="{464376DC-7D31-44E1-8380-E8EDA89C033E}">
      <dgm:prSet/>
      <dgm:spPr/>
      <dgm:t>
        <a:bodyPr/>
        <a:lstStyle/>
        <a:p>
          <a:endParaRPr lang="en-US"/>
        </a:p>
      </dgm:t>
    </dgm:pt>
    <dgm:pt modelId="{B48D71CD-EA37-42AF-8DE4-EB95924E320C}">
      <dgm:prSet phldrT="[Text]"/>
      <dgm:spPr/>
      <dgm:t>
        <a:bodyPr/>
        <a:lstStyle/>
        <a:p>
          <a:r>
            <a:rPr lang="en-US" dirty="0" smtClean="0"/>
            <a:t>Input Form</a:t>
          </a:r>
          <a:endParaRPr lang="en-US" dirty="0"/>
        </a:p>
      </dgm:t>
    </dgm:pt>
    <dgm:pt modelId="{CD7EC3CA-59BA-471D-BE56-98296DEB7C95}" type="parTrans" cxnId="{3686D84A-F320-49DC-95E8-E181E7FE7715}">
      <dgm:prSet/>
      <dgm:spPr/>
      <dgm:t>
        <a:bodyPr/>
        <a:lstStyle/>
        <a:p>
          <a:endParaRPr lang="en-US"/>
        </a:p>
      </dgm:t>
    </dgm:pt>
    <dgm:pt modelId="{95C08E60-D43D-48F6-8ED9-57F214188ABF}" type="sibTrans" cxnId="{3686D84A-F320-49DC-95E8-E181E7FE7715}">
      <dgm:prSet/>
      <dgm:spPr/>
      <dgm:t>
        <a:bodyPr/>
        <a:lstStyle/>
        <a:p>
          <a:endParaRPr lang="en-US" sz="20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120597" custScaleY="65664"/>
      <dgm:spPr/>
      <dgm:t>
        <a:bodyPr/>
        <a:lstStyle/>
        <a:p>
          <a:endParaRPr lang="en-US"/>
        </a:p>
      </dgm:t>
    </dgm:pt>
    <dgm:pt modelId="{FF740D9C-BB4A-4A69-A650-C33BF11DC02D}" type="pres">
      <dgm:prSet presAssocID="{3FFE60C6-5493-4DD4-BBE6-B3A4619017CC}" presName="node" presStyleLbl="node1" presStyleIdx="0" presStyleCnt="4" custScaleX="142910">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dgm:spPr/>
      <dgm:t>
        <a:bodyPr/>
        <a:lstStyle/>
        <a:p>
          <a:endParaRPr lang="en-US"/>
        </a:p>
      </dgm:t>
    </dgm:pt>
    <dgm:pt modelId="{0A17AF9F-C04E-41A0-AEFF-82D66218B9C8}" type="pres">
      <dgm:prSet presAssocID="{236BE4F3-81F0-4A45-850A-113F136CD8F8}" presName="node" presStyleLbl="node1" presStyleIdx="2" presStyleCnt="4" custScaleX="221747">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202774FA-81C6-41D3-9183-1491563D289C}" type="presOf" srcId="{3FFE60C6-5493-4DD4-BBE6-B3A4619017CC}" destId="{FF740D9C-BB4A-4A69-A650-C33BF11DC02D}" srcOrd="0" destOrd="0" presId="urn:microsoft.com/office/officeart/2005/8/layout/radial6"/>
    <dgm:cxn modelId="{16C2A902-855B-4E0C-9CDD-37ECF071855C}" type="presOf" srcId="{C9D9F858-39C1-42AB-911C-822FED233670}" destId="{6E8D21F7-0FE0-4624-9708-8E88D634BF2D}" srcOrd="0" destOrd="0" presId="urn:microsoft.com/office/officeart/2005/8/layout/radial6"/>
    <dgm:cxn modelId="{8654E97F-1F31-410F-89A3-E2BE32ED3BFF}" srcId="{C9D9F858-39C1-42AB-911C-822FED233670}" destId="{3FFE60C6-5493-4DD4-BBE6-B3A4619017CC}" srcOrd="0" destOrd="0" parTransId="{7BD36542-20DA-4FBE-8973-C426D00BAC4B}" sibTransId="{5F44E9E3-E2D9-4E50-9CD4-4EC251A8BF1C}"/>
    <dgm:cxn modelId="{09C675B0-00D0-4C03-8688-D39B2337C802}" srcId="{C3697A96-AF43-442D-9FCA-C2B49082A025}" destId="{C9D9F858-39C1-42AB-911C-822FED233670}" srcOrd="0" destOrd="0" parTransId="{3938A332-DB37-4F78-92AA-CA9886DEAE7D}" sibTransId="{93FD8214-A213-490D-BC11-486A650D87D9}"/>
    <dgm:cxn modelId="{636BCB33-A0B5-46B0-839E-21C817190485}" type="presOf" srcId="{236BE4F3-81F0-4A45-850A-113F136CD8F8}" destId="{0A17AF9F-C04E-41A0-AEFF-82D66218B9C8}" srcOrd="0" destOrd="0" presId="urn:microsoft.com/office/officeart/2005/8/layout/radial6"/>
    <dgm:cxn modelId="{F4699CA5-A0B2-4FAA-946A-CAC0A7ED48AC}" type="presOf" srcId="{F768B871-C217-4B83-8C87-1DF943DA90AE}" destId="{CB829480-2B86-443C-8B10-3467EFC8B8A4}" srcOrd="0" destOrd="0" presId="urn:microsoft.com/office/officeart/2005/8/layout/radial6"/>
    <dgm:cxn modelId="{3686D84A-F320-49DC-95E8-E181E7FE7715}" srcId="{C9D9F858-39C1-42AB-911C-822FED233670}" destId="{B48D71CD-EA37-42AF-8DE4-EB95924E320C}" srcOrd="3" destOrd="0" parTransId="{CD7EC3CA-59BA-471D-BE56-98296DEB7C95}" sibTransId="{95C08E60-D43D-48F6-8ED9-57F214188ABF}"/>
    <dgm:cxn modelId="{27AD23C3-55C7-4E26-A5F9-2848B07F1422}" type="presOf" srcId="{C3697A96-AF43-442D-9FCA-C2B49082A025}" destId="{3E6553F9-EB93-4BD2-B857-827BEB672EF1}" srcOrd="0" destOrd="0" presId="urn:microsoft.com/office/officeart/2005/8/layout/radial6"/>
    <dgm:cxn modelId="{B42AC68F-974D-42AB-AB11-9988A24A3350}" type="presOf" srcId="{B48D71CD-EA37-42AF-8DE4-EB95924E320C}" destId="{A71994AC-2F45-41D0-B3D8-B04A1FEC4434}" srcOrd="0" destOrd="0" presId="urn:microsoft.com/office/officeart/2005/8/layout/radial6"/>
    <dgm:cxn modelId="{ED3202BD-09DC-4375-9704-EA5A60988F86}" type="presOf" srcId="{EF7FBD8A-C26E-4C85-90A0-A2A4E053BB99}" destId="{8F5137FA-152A-4104-9AB8-ED4CBB4AFC1E}" srcOrd="0" destOrd="0" presId="urn:microsoft.com/office/officeart/2005/8/layout/radial6"/>
    <dgm:cxn modelId="{3A0BEED3-911E-42B0-B6C6-92B2C127383A}" type="presOf" srcId="{D0BFBFD3-8B66-4D76-9BFB-40EC9D662356}" destId="{D750D8F3-B7C9-468B-BF26-35D7E8E952D3}"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C81F3797-21A8-40C0-A796-94195F20E2FC}" type="presOf" srcId="{95C08E60-D43D-48F6-8ED9-57F214188ABF}" destId="{C78EC8AF-3388-43CC-BC05-5EB25A273C51}" srcOrd="0" destOrd="0" presId="urn:microsoft.com/office/officeart/2005/8/layout/radial6"/>
    <dgm:cxn modelId="{58D4A222-12A5-4818-B17E-DE7906017D43}" type="presOf" srcId="{5F44E9E3-E2D9-4E50-9CD4-4EC251A8BF1C}" destId="{11A38E0B-38D6-4789-8277-9D34D0F92EF0}" srcOrd="0" destOrd="0" presId="urn:microsoft.com/office/officeart/2005/8/layout/radial6"/>
    <dgm:cxn modelId="{464376DC-7D31-44E1-8380-E8EDA89C033E}" srcId="{C9D9F858-39C1-42AB-911C-822FED233670}" destId="{236BE4F3-81F0-4A45-850A-113F136CD8F8}" srcOrd="2" destOrd="0" parTransId="{687077C6-A573-4169-AFEE-E539CD3EB363}" sibTransId="{F768B871-C217-4B83-8C87-1DF943DA90AE}"/>
    <dgm:cxn modelId="{64BDF2B2-2F59-4286-BABC-B42E3BECE5E0}" type="presParOf" srcId="{3E6553F9-EB93-4BD2-B857-827BEB672EF1}" destId="{6E8D21F7-0FE0-4624-9708-8E88D634BF2D}" srcOrd="0" destOrd="0" presId="urn:microsoft.com/office/officeart/2005/8/layout/radial6"/>
    <dgm:cxn modelId="{28786C85-E7E6-412D-A68C-B4E80ED5BF18}" type="presParOf" srcId="{3E6553F9-EB93-4BD2-B857-827BEB672EF1}" destId="{FF740D9C-BB4A-4A69-A650-C33BF11DC02D}" srcOrd="1" destOrd="0" presId="urn:microsoft.com/office/officeart/2005/8/layout/radial6"/>
    <dgm:cxn modelId="{C7435C72-4DAA-4D36-BDA7-C07FEECA1811}" type="presParOf" srcId="{3E6553F9-EB93-4BD2-B857-827BEB672EF1}" destId="{3936E49F-3426-4AD1-B8B5-AE3239B05171}" srcOrd="2" destOrd="0" presId="urn:microsoft.com/office/officeart/2005/8/layout/radial6"/>
    <dgm:cxn modelId="{00900F4E-5F4A-41A5-9A73-EB0A2001AD09}" type="presParOf" srcId="{3E6553F9-EB93-4BD2-B857-827BEB672EF1}" destId="{11A38E0B-38D6-4789-8277-9D34D0F92EF0}" srcOrd="3" destOrd="0" presId="urn:microsoft.com/office/officeart/2005/8/layout/radial6"/>
    <dgm:cxn modelId="{ACF66506-185F-4A70-A0D5-4BAC70703CBB}" type="presParOf" srcId="{3E6553F9-EB93-4BD2-B857-827BEB672EF1}" destId="{8F5137FA-152A-4104-9AB8-ED4CBB4AFC1E}" srcOrd="4" destOrd="0" presId="urn:microsoft.com/office/officeart/2005/8/layout/radial6"/>
    <dgm:cxn modelId="{2384974B-ABBF-4CDF-812A-FD02DAE98E6A}" type="presParOf" srcId="{3E6553F9-EB93-4BD2-B857-827BEB672EF1}" destId="{A6847734-9CF1-4AD3-855E-8AD6D6DFF608}" srcOrd="5" destOrd="0" presId="urn:microsoft.com/office/officeart/2005/8/layout/radial6"/>
    <dgm:cxn modelId="{47B1F106-73A5-4F8A-AFC5-C8B6EEE92FEB}" type="presParOf" srcId="{3E6553F9-EB93-4BD2-B857-827BEB672EF1}" destId="{D750D8F3-B7C9-468B-BF26-35D7E8E952D3}" srcOrd="6" destOrd="0" presId="urn:microsoft.com/office/officeart/2005/8/layout/radial6"/>
    <dgm:cxn modelId="{A30BCC05-E6BB-4014-97D4-6D231F2AE717}" type="presParOf" srcId="{3E6553F9-EB93-4BD2-B857-827BEB672EF1}" destId="{0A17AF9F-C04E-41A0-AEFF-82D66218B9C8}" srcOrd="7" destOrd="0" presId="urn:microsoft.com/office/officeart/2005/8/layout/radial6"/>
    <dgm:cxn modelId="{F12B49ED-4E56-43BE-98FA-A31D3E392033}" type="presParOf" srcId="{3E6553F9-EB93-4BD2-B857-827BEB672EF1}" destId="{033F80D6-EF96-4D4E-B299-F841D85DAFC9}" srcOrd="8" destOrd="0" presId="urn:microsoft.com/office/officeart/2005/8/layout/radial6"/>
    <dgm:cxn modelId="{075E46EA-2064-4FF0-8E41-72AF69F91D2A}" type="presParOf" srcId="{3E6553F9-EB93-4BD2-B857-827BEB672EF1}" destId="{CB829480-2B86-443C-8B10-3467EFC8B8A4}" srcOrd="9" destOrd="0" presId="urn:microsoft.com/office/officeart/2005/8/layout/radial6"/>
    <dgm:cxn modelId="{5B9BD702-43EB-406B-9A35-87530AF0254F}" type="presParOf" srcId="{3E6553F9-EB93-4BD2-B857-827BEB672EF1}" destId="{A71994AC-2F45-41D0-B3D8-B04A1FEC4434}" srcOrd="10" destOrd="0" presId="urn:microsoft.com/office/officeart/2005/8/layout/radial6"/>
    <dgm:cxn modelId="{3FD79B34-9A62-4790-AB0A-5AD89B57824B}" type="presParOf" srcId="{3E6553F9-EB93-4BD2-B857-827BEB672EF1}" destId="{B66084F5-7676-4D43-9B80-580E7774462D}" srcOrd="11" destOrd="0" presId="urn:microsoft.com/office/officeart/2005/8/layout/radial6"/>
    <dgm:cxn modelId="{4F02FF35-DE2D-44A4-8300-CFA17DA4947D}" type="presParOf" srcId="{3E6553F9-EB93-4BD2-B857-827BEB672EF1}" destId="{C78EC8AF-3388-43CC-BC05-5EB25A273C51}" srcOrd="12" destOrd="0" presId="urn:microsoft.com/office/officeart/2005/8/layout/radial6"/>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dgm:t>
        <a:bodyPr/>
        <a:lstStyle/>
        <a:p>
          <a:r>
            <a:rPr lang="en-US" sz="800" dirty="0" smtClean="0"/>
            <a:t>Agronomic</a:t>
          </a:r>
        </a:p>
        <a:p>
          <a:r>
            <a:rPr lang="en-US" sz="800" dirty="0" smtClean="0"/>
            <a:t>Fundamentals</a:t>
          </a:r>
          <a:endParaRPr lang="en-US" sz="800" dirty="0"/>
        </a:p>
      </dgm:t>
    </dgm:pt>
    <dgm:pt modelId="{3938A332-DB37-4F78-92AA-CA9886DEAE7D}" type="parTrans" cxnId="{09C675B0-00D0-4C03-8688-D39B2337C802}">
      <dgm:prSet/>
      <dgm:spPr/>
      <dgm:t>
        <a:bodyPr/>
        <a:lstStyle/>
        <a:p>
          <a:endParaRPr lang="en-US"/>
        </a:p>
      </dgm:t>
    </dgm:pt>
    <dgm:pt modelId="{93FD8214-A213-490D-BC11-486A650D87D9}" type="sibTrans" cxnId="{09C675B0-00D0-4C03-8688-D39B2337C802}">
      <dgm:prSet/>
      <dgm:spPr/>
      <dgm:t>
        <a:bodyPr/>
        <a:lstStyle/>
        <a:p>
          <a:endParaRPr lang="en-US"/>
        </a:p>
      </dgm:t>
    </dgm:pt>
    <dgm:pt modelId="{3FFE60C6-5493-4DD4-BBE6-B3A4619017CC}">
      <dgm:prSet phldrT="[Text]" custT="1"/>
      <dgm:spPr>
        <a:solidFill>
          <a:schemeClr val="accent2"/>
        </a:solidFill>
      </dgm:spPr>
      <dgm:t>
        <a:bodyPr/>
        <a:lstStyle/>
        <a:p>
          <a:r>
            <a:rPr lang="en-US" sz="1400" dirty="0" smtClean="0">
              <a:solidFill>
                <a:schemeClr val="tx1"/>
              </a:solidFill>
            </a:rPr>
            <a:t>Input Placement</a:t>
          </a:r>
          <a:endParaRPr lang="en-US" sz="1400" dirty="0">
            <a:solidFill>
              <a:schemeClr val="tx1"/>
            </a:solidFill>
          </a:endParaRPr>
        </a:p>
      </dgm:t>
    </dgm:pt>
    <dgm:pt modelId="{7BD36542-20DA-4FBE-8973-C426D00BAC4B}" type="parTrans" cxnId="{8654E97F-1F31-410F-89A3-E2BE32ED3BFF}">
      <dgm:prSet/>
      <dgm:spPr/>
      <dgm:t>
        <a:bodyPr/>
        <a:lstStyle/>
        <a:p>
          <a:endParaRPr lang="en-US"/>
        </a:p>
      </dgm:t>
    </dgm:pt>
    <dgm:pt modelId="{5F44E9E3-E2D9-4E50-9CD4-4EC251A8BF1C}" type="sibTrans" cxnId="{8654E97F-1F31-410F-89A3-E2BE32ED3BFF}">
      <dgm:prSet/>
      <dgm:spPr/>
      <dgm:t>
        <a:bodyPr/>
        <a:lstStyle/>
        <a:p>
          <a:endParaRPr lang="en-US"/>
        </a:p>
      </dgm:t>
    </dgm:pt>
    <dgm:pt modelId="{EF7FBD8A-C26E-4C85-90A0-A2A4E053BB99}">
      <dgm:prSet phldrT="[Text]"/>
      <dgm:spPr/>
      <dgm:t>
        <a:bodyPr/>
        <a:lstStyle/>
        <a:p>
          <a:r>
            <a:rPr lang="en-US" dirty="0" smtClean="0"/>
            <a:t>Application Timing</a:t>
          </a:r>
          <a:endParaRPr lang="en-US" dirty="0"/>
        </a:p>
      </dgm:t>
    </dgm:pt>
    <dgm:pt modelId="{4532011D-2361-46E2-A02E-6D61338F6C27}" type="parTrans" cxnId="{CB90D655-1B9C-49EC-A774-53F4BBD77504}">
      <dgm:prSet/>
      <dgm:spPr/>
      <dgm:t>
        <a:bodyPr/>
        <a:lstStyle/>
        <a:p>
          <a:endParaRPr lang="en-US"/>
        </a:p>
      </dgm:t>
    </dgm:pt>
    <dgm:pt modelId="{D0BFBFD3-8B66-4D76-9BFB-40EC9D662356}" type="sibTrans" cxnId="{CB90D655-1B9C-49EC-A774-53F4BBD77504}">
      <dgm:prSet/>
      <dgm:spPr/>
      <dgm:t>
        <a:bodyPr/>
        <a:lstStyle/>
        <a:p>
          <a:endParaRPr lang="en-US"/>
        </a:p>
      </dgm:t>
    </dgm:pt>
    <dgm:pt modelId="{236BE4F3-81F0-4A45-850A-113F136CD8F8}">
      <dgm:prSet phldrT="[Text]"/>
      <dgm:spPr/>
      <dgm:t>
        <a:bodyPr/>
        <a:lstStyle/>
        <a:p>
          <a:r>
            <a:rPr lang="en-US" dirty="0" smtClean="0"/>
            <a:t>Application Rate</a:t>
          </a:r>
          <a:endParaRPr lang="en-US" dirty="0"/>
        </a:p>
      </dgm:t>
    </dgm:pt>
    <dgm:pt modelId="{687077C6-A573-4169-AFEE-E539CD3EB363}" type="parTrans" cxnId="{464376DC-7D31-44E1-8380-E8EDA89C033E}">
      <dgm:prSet/>
      <dgm:spPr/>
      <dgm:t>
        <a:bodyPr/>
        <a:lstStyle/>
        <a:p>
          <a:endParaRPr lang="en-US"/>
        </a:p>
      </dgm:t>
    </dgm:pt>
    <dgm:pt modelId="{F768B871-C217-4B83-8C87-1DF943DA90AE}" type="sibTrans" cxnId="{464376DC-7D31-44E1-8380-E8EDA89C033E}">
      <dgm:prSet/>
      <dgm:spPr/>
      <dgm:t>
        <a:bodyPr/>
        <a:lstStyle/>
        <a:p>
          <a:endParaRPr lang="en-US"/>
        </a:p>
      </dgm:t>
    </dgm:pt>
    <dgm:pt modelId="{B48D71CD-EA37-42AF-8DE4-EB95924E320C}">
      <dgm:prSet phldrT="[Text]"/>
      <dgm:spPr/>
      <dgm:t>
        <a:bodyPr/>
        <a:lstStyle/>
        <a:p>
          <a:r>
            <a:rPr lang="en-US" dirty="0" smtClean="0"/>
            <a:t>Input Form</a:t>
          </a:r>
          <a:endParaRPr lang="en-US" dirty="0"/>
        </a:p>
      </dgm:t>
    </dgm:pt>
    <dgm:pt modelId="{CD7EC3CA-59BA-471D-BE56-98296DEB7C95}" type="parTrans" cxnId="{3686D84A-F320-49DC-95E8-E181E7FE7715}">
      <dgm:prSet/>
      <dgm:spPr/>
      <dgm:t>
        <a:bodyPr/>
        <a:lstStyle/>
        <a:p>
          <a:endParaRPr lang="en-US"/>
        </a:p>
      </dgm:t>
    </dgm:pt>
    <dgm:pt modelId="{95C08E60-D43D-48F6-8ED9-57F214188ABF}" type="sibTrans" cxnId="{3686D84A-F320-49DC-95E8-E181E7FE7715}">
      <dgm:prSet/>
      <dgm:spPr/>
      <dgm:t>
        <a:bodyPr/>
        <a:lstStyle/>
        <a:p>
          <a:endParaRPr lang="en-US" sz="20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120597" custScaleY="65664"/>
      <dgm:spPr/>
      <dgm:t>
        <a:bodyPr/>
        <a:lstStyle/>
        <a:p>
          <a:endParaRPr lang="en-US"/>
        </a:p>
      </dgm:t>
    </dgm:pt>
    <dgm:pt modelId="{FF740D9C-BB4A-4A69-A650-C33BF11DC02D}" type="pres">
      <dgm:prSet presAssocID="{3FFE60C6-5493-4DD4-BBE6-B3A4619017CC}" presName="node" presStyleLbl="node1" presStyleIdx="0" presStyleCnt="4" custScaleX="198759">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dgm:spPr/>
      <dgm:t>
        <a:bodyPr/>
        <a:lstStyle/>
        <a:p>
          <a:endParaRPr lang="en-US"/>
        </a:p>
      </dgm:t>
    </dgm:pt>
    <dgm:pt modelId="{0A17AF9F-C04E-41A0-AEFF-82D66218B9C8}" type="pres">
      <dgm:prSet presAssocID="{236BE4F3-81F0-4A45-850A-113F136CD8F8}" presName="node" presStyleLbl="node1" presStyleIdx="2" presStyleCnt="4">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8654E97F-1F31-410F-89A3-E2BE32ED3BFF}" srcId="{C9D9F858-39C1-42AB-911C-822FED233670}" destId="{3FFE60C6-5493-4DD4-BBE6-B3A4619017CC}" srcOrd="0" destOrd="0" parTransId="{7BD36542-20DA-4FBE-8973-C426D00BAC4B}" sibTransId="{5F44E9E3-E2D9-4E50-9CD4-4EC251A8BF1C}"/>
    <dgm:cxn modelId="{980F8385-655B-4E4B-90A1-8E7FCDE40F34}" type="presOf" srcId="{C3697A96-AF43-442D-9FCA-C2B49082A025}" destId="{3E6553F9-EB93-4BD2-B857-827BEB672EF1}" srcOrd="0" destOrd="0" presId="urn:microsoft.com/office/officeart/2005/8/layout/radial6"/>
    <dgm:cxn modelId="{84D65128-167A-4F94-8A8C-E58653D64FA0}" type="presOf" srcId="{D0BFBFD3-8B66-4D76-9BFB-40EC9D662356}" destId="{D750D8F3-B7C9-468B-BF26-35D7E8E952D3}" srcOrd="0" destOrd="0" presId="urn:microsoft.com/office/officeart/2005/8/layout/radial6"/>
    <dgm:cxn modelId="{6C44F60A-78CC-4D2E-8A64-B366B1C9E5E8}" type="presOf" srcId="{B48D71CD-EA37-42AF-8DE4-EB95924E320C}" destId="{A71994AC-2F45-41D0-B3D8-B04A1FEC4434}" srcOrd="0" destOrd="0" presId="urn:microsoft.com/office/officeart/2005/8/layout/radial6"/>
    <dgm:cxn modelId="{09C675B0-00D0-4C03-8688-D39B2337C802}" srcId="{C3697A96-AF43-442D-9FCA-C2B49082A025}" destId="{C9D9F858-39C1-42AB-911C-822FED233670}" srcOrd="0" destOrd="0" parTransId="{3938A332-DB37-4F78-92AA-CA9886DEAE7D}" sibTransId="{93FD8214-A213-490D-BC11-486A650D87D9}"/>
    <dgm:cxn modelId="{3686D84A-F320-49DC-95E8-E181E7FE7715}" srcId="{C9D9F858-39C1-42AB-911C-822FED233670}" destId="{B48D71CD-EA37-42AF-8DE4-EB95924E320C}" srcOrd="3" destOrd="0" parTransId="{CD7EC3CA-59BA-471D-BE56-98296DEB7C95}" sibTransId="{95C08E60-D43D-48F6-8ED9-57F214188ABF}"/>
    <dgm:cxn modelId="{0DE7853D-4144-4134-A73E-14CA6E868DE3}" type="presOf" srcId="{5F44E9E3-E2D9-4E50-9CD4-4EC251A8BF1C}" destId="{11A38E0B-38D6-4789-8277-9D34D0F92EF0}" srcOrd="0" destOrd="0" presId="urn:microsoft.com/office/officeart/2005/8/layout/radial6"/>
    <dgm:cxn modelId="{0DACF9D7-DB6A-48D1-ACD6-EEF0B0EED178}" type="presOf" srcId="{F768B871-C217-4B83-8C87-1DF943DA90AE}" destId="{CB829480-2B86-443C-8B10-3467EFC8B8A4}" srcOrd="0" destOrd="0" presId="urn:microsoft.com/office/officeart/2005/8/layout/radial6"/>
    <dgm:cxn modelId="{8EBBA2E8-AF7D-408C-AAA7-19F41B029DEE}" type="presOf" srcId="{95C08E60-D43D-48F6-8ED9-57F214188ABF}" destId="{C78EC8AF-3388-43CC-BC05-5EB25A273C51}" srcOrd="0" destOrd="0" presId="urn:microsoft.com/office/officeart/2005/8/layout/radial6"/>
    <dgm:cxn modelId="{D5E04A30-AFD3-4F14-97E3-A04077D90D01}" type="presOf" srcId="{C9D9F858-39C1-42AB-911C-822FED233670}" destId="{6E8D21F7-0FE0-4624-9708-8E88D634BF2D}"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63299401-4F38-4514-AAF7-59211339039B}" type="presOf" srcId="{236BE4F3-81F0-4A45-850A-113F136CD8F8}" destId="{0A17AF9F-C04E-41A0-AEFF-82D66218B9C8}" srcOrd="0" destOrd="0" presId="urn:microsoft.com/office/officeart/2005/8/layout/radial6"/>
    <dgm:cxn modelId="{464376DC-7D31-44E1-8380-E8EDA89C033E}" srcId="{C9D9F858-39C1-42AB-911C-822FED233670}" destId="{236BE4F3-81F0-4A45-850A-113F136CD8F8}" srcOrd="2" destOrd="0" parTransId="{687077C6-A573-4169-AFEE-E539CD3EB363}" sibTransId="{F768B871-C217-4B83-8C87-1DF943DA90AE}"/>
    <dgm:cxn modelId="{752D559C-20B9-4EE6-8AFA-08D75296AD75}" type="presOf" srcId="{3FFE60C6-5493-4DD4-BBE6-B3A4619017CC}" destId="{FF740D9C-BB4A-4A69-A650-C33BF11DC02D}" srcOrd="0" destOrd="0" presId="urn:microsoft.com/office/officeart/2005/8/layout/radial6"/>
    <dgm:cxn modelId="{FFD089C2-F415-4A56-B82D-0FF9D4586029}" type="presOf" srcId="{EF7FBD8A-C26E-4C85-90A0-A2A4E053BB99}" destId="{8F5137FA-152A-4104-9AB8-ED4CBB4AFC1E}" srcOrd="0" destOrd="0" presId="urn:microsoft.com/office/officeart/2005/8/layout/radial6"/>
    <dgm:cxn modelId="{A77DCE39-5A43-4302-96FC-F032FEB4EAFE}" type="presParOf" srcId="{3E6553F9-EB93-4BD2-B857-827BEB672EF1}" destId="{6E8D21F7-0FE0-4624-9708-8E88D634BF2D}" srcOrd="0" destOrd="0" presId="urn:microsoft.com/office/officeart/2005/8/layout/radial6"/>
    <dgm:cxn modelId="{A2E23CD1-A34A-4DF2-81B5-E9CFD1C57ABE}" type="presParOf" srcId="{3E6553F9-EB93-4BD2-B857-827BEB672EF1}" destId="{FF740D9C-BB4A-4A69-A650-C33BF11DC02D}" srcOrd="1" destOrd="0" presId="urn:microsoft.com/office/officeart/2005/8/layout/radial6"/>
    <dgm:cxn modelId="{18BA2A0E-2433-4C50-B99F-B8CAAA88B06B}" type="presParOf" srcId="{3E6553F9-EB93-4BD2-B857-827BEB672EF1}" destId="{3936E49F-3426-4AD1-B8B5-AE3239B05171}" srcOrd="2" destOrd="0" presId="urn:microsoft.com/office/officeart/2005/8/layout/radial6"/>
    <dgm:cxn modelId="{8655ED38-B44B-498B-9D4E-AE6576D4ED7F}" type="presParOf" srcId="{3E6553F9-EB93-4BD2-B857-827BEB672EF1}" destId="{11A38E0B-38D6-4789-8277-9D34D0F92EF0}" srcOrd="3" destOrd="0" presId="urn:microsoft.com/office/officeart/2005/8/layout/radial6"/>
    <dgm:cxn modelId="{C45F2BFE-B5D7-4411-81A2-704A4BE8C0C0}" type="presParOf" srcId="{3E6553F9-EB93-4BD2-B857-827BEB672EF1}" destId="{8F5137FA-152A-4104-9AB8-ED4CBB4AFC1E}" srcOrd="4" destOrd="0" presId="urn:microsoft.com/office/officeart/2005/8/layout/radial6"/>
    <dgm:cxn modelId="{406C909D-FA66-4752-B99E-FEB03A18F6C9}" type="presParOf" srcId="{3E6553F9-EB93-4BD2-B857-827BEB672EF1}" destId="{A6847734-9CF1-4AD3-855E-8AD6D6DFF608}" srcOrd="5" destOrd="0" presId="urn:microsoft.com/office/officeart/2005/8/layout/radial6"/>
    <dgm:cxn modelId="{66F01DF9-2C9B-4258-B235-177B59063F10}" type="presParOf" srcId="{3E6553F9-EB93-4BD2-B857-827BEB672EF1}" destId="{D750D8F3-B7C9-468B-BF26-35D7E8E952D3}" srcOrd="6" destOrd="0" presId="urn:microsoft.com/office/officeart/2005/8/layout/radial6"/>
    <dgm:cxn modelId="{4D873827-7CF7-4F7C-A007-FF67A31F37C8}" type="presParOf" srcId="{3E6553F9-EB93-4BD2-B857-827BEB672EF1}" destId="{0A17AF9F-C04E-41A0-AEFF-82D66218B9C8}" srcOrd="7" destOrd="0" presId="urn:microsoft.com/office/officeart/2005/8/layout/radial6"/>
    <dgm:cxn modelId="{126ABCD7-B555-47FD-B35A-6FB769A7C715}" type="presParOf" srcId="{3E6553F9-EB93-4BD2-B857-827BEB672EF1}" destId="{033F80D6-EF96-4D4E-B299-F841D85DAFC9}" srcOrd="8" destOrd="0" presId="urn:microsoft.com/office/officeart/2005/8/layout/radial6"/>
    <dgm:cxn modelId="{5C19FA55-A6AA-4C38-95C4-2638D063C64E}" type="presParOf" srcId="{3E6553F9-EB93-4BD2-B857-827BEB672EF1}" destId="{CB829480-2B86-443C-8B10-3467EFC8B8A4}" srcOrd="9" destOrd="0" presId="urn:microsoft.com/office/officeart/2005/8/layout/radial6"/>
    <dgm:cxn modelId="{35B22608-C27F-4B6A-AE32-00A6465CA227}" type="presParOf" srcId="{3E6553F9-EB93-4BD2-B857-827BEB672EF1}" destId="{A71994AC-2F45-41D0-B3D8-B04A1FEC4434}" srcOrd="10" destOrd="0" presId="urn:microsoft.com/office/officeart/2005/8/layout/radial6"/>
    <dgm:cxn modelId="{E8B2656D-B74F-4B02-B5DC-A435D9505D7D}" type="presParOf" srcId="{3E6553F9-EB93-4BD2-B857-827BEB672EF1}" destId="{B66084F5-7676-4D43-9B80-580E7774462D}" srcOrd="11" destOrd="0" presId="urn:microsoft.com/office/officeart/2005/8/layout/radial6"/>
    <dgm:cxn modelId="{EAB40902-B332-4F63-9B14-83BE355D3CBD}" type="presParOf" srcId="{3E6553F9-EB93-4BD2-B857-827BEB672EF1}" destId="{C78EC8AF-3388-43CC-BC05-5EB25A273C51}" srcOrd="12" destOrd="0" presId="urn:microsoft.com/office/officeart/2005/8/layout/radial6"/>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dgm:t>
        <a:bodyPr/>
        <a:lstStyle/>
        <a:p>
          <a:r>
            <a:rPr lang="en-US" sz="800" dirty="0" smtClean="0"/>
            <a:t>Agronomic</a:t>
          </a:r>
        </a:p>
        <a:p>
          <a:r>
            <a:rPr lang="en-US" sz="800" dirty="0" smtClean="0"/>
            <a:t>Fundamentals</a:t>
          </a:r>
          <a:endParaRPr lang="en-US" sz="800" dirty="0"/>
        </a:p>
      </dgm:t>
    </dgm:pt>
    <dgm:pt modelId="{3938A332-DB37-4F78-92AA-CA9886DEAE7D}" type="parTrans" cxnId="{09C675B0-00D0-4C03-8688-D39B2337C802}">
      <dgm:prSet/>
      <dgm:spPr/>
      <dgm:t>
        <a:bodyPr/>
        <a:lstStyle/>
        <a:p>
          <a:endParaRPr lang="en-US"/>
        </a:p>
      </dgm:t>
    </dgm:pt>
    <dgm:pt modelId="{93FD8214-A213-490D-BC11-486A650D87D9}" type="sibTrans" cxnId="{09C675B0-00D0-4C03-8688-D39B2337C802}">
      <dgm:prSet/>
      <dgm:spPr/>
      <dgm:t>
        <a:bodyPr/>
        <a:lstStyle/>
        <a:p>
          <a:endParaRPr lang="en-US"/>
        </a:p>
      </dgm:t>
    </dgm:pt>
    <dgm:pt modelId="{3FFE60C6-5493-4DD4-BBE6-B3A4619017CC}">
      <dgm:prSet phldrT="[Text]"/>
      <dgm:spPr/>
      <dgm:t>
        <a:bodyPr/>
        <a:lstStyle/>
        <a:p>
          <a:r>
            <a:rPr lang="en-US" dirty="0" smtClean="0">
              <a:solidFill>
                <a:schemeClr val="bg1"/>
              </a:solidFill>
            </a:rPr>
            <a:t>Input Placement</a:t>
          </a:r>
          <a:endParaRPr lang="en-US" dirty="0">
            <a:solidFill>
              <a:schemeClr val="bg1"/>
            </a:solidFill>
          </a:endParaRPr>
        </a:p>
      </dgm:t>
    </dgm:pt>
    <dgm:pt modelId="{7BD36542-20DA-4FBE-8973-C426D00BAC4B}" type="parTrans" cxnId="{8654E97F-1F31-410F-89A3-E2BE32ED3BFF}">
      <dgm:prSet/>
      <dgm:spPr/>
      <dgm:t>
        <a:bodyPr/>
        <a:lstStyle/>
        <a:p>
          <a:endParaRPr lang="en-US"/>
        </a:p>
      </dgm:t>
    </dgm:pt>
    <dgm:pt modelId="{5F44E9E3-E2D9-4E50-9CD4-4EC251A8BF1C}" type="sibTrans" cxnId="{8654E97F-1F31-410F-89A3-E2BE32ED3BFF}">
      <dgm:prSet/>
      <dgm:spPr/>
      <dgm:t>
        <a:bodyPr/>
        <a:lstStyle/>
        <a:p>
          <a:endParaRPr lang="en-US"/>
        </a:p>
      </dgm:t>
    </dgm:pt>
    <dgm:pt modelId="{EF7FBD8A-C26E-4C85-90A0-A2A4E053BB99}">
      <dgm:prSet phldrT="[Text]" custT="1"/>
      <dgm:spPr>
        <a:solidFill>
          <a:schemeClr val="accent2"/>
        </a:solidFill>
      </dgm:spPr>
      <dgm:t>
        <a:bodyPr/>
        <a:lstStyle/>
        <a:p>
          <a:r>
            <a:rPr lang="en-US" sz="1400" dirty="0" smtClean="0">
              <a:solidFill>
                <a:schemeClr val="tx1"/>
              </a:solidFill>
            </a:rPr>
            <a:t>Application Timing</a:t>
          </a:r>
          <a:endParaRPr lang="en-US" sz="1400" dirty="0">
            <a:solidFill>
              <a:schemeClr val="tx1"/>
            </a:solidFill>
          </a:endParaRPr>
        </a:p>
      </dgm:t>
    </dgm:pt>
    <dgm:pt modelId="{4532011D-2361-46E2-A02E-6D61338F6C27}" type="parTrans" cxnId="{CB90D655-1B9C-49EC-A774-53F4BBD77504}">
      <dgm:prSet/>
      <dgm:spPr/>
      <dgm:t>
        <a:bodyPr/>
        <a:lstStyle/>
        <a:p>
          <a:endParaRPr lang="en-US"/>
        </a:p>
      </dgm:t>
    </dgm:pt>
    <dgm:pt modelId="{D0BFBFD3-8B66-4D76-9BFB-40EC9D662356}" type="sibTrans" cxnId="{CB90D655-1B9C-49EC-A774-53F4BBD77504}">
      <dgm:prSet/>
      <dgm:spPr/>
      <dgm:t>
        <a:bodyPr/>
        <a:lstStyle/>
        <a:p>
          <a:endParaRPr lang="en-US"/>
        </a:p>
      </dgm:t>
    </dgm:pt>
    <dgm:pt modelId="{236BE4F3-81F0-4A45-850A-113F136CD8F8}">
      <dgm:prSet phldrT="[Text]"/>
      <dgm:spPr/>
      <dgm:t>
        <a:bodyPr/>
        <a:lstStyle/>
        <a:p>
          <a:r>
            <a:rPr lang="en-US" dirty="0" smtClean="0"/>
            <a:t>Application Rate</a:t>
          </a:r>
          <a:endParaRPr lang="en-US" dirty="0"/>
        </a:p>
      </dgm:t>
    </dgm:pt>
    <dgm:pt modelId="{687077C6-A573-4169-AFEE-E539CD3EB363}" type="parTrans" cxnId="{464376DC-7D31-44E1-8380-E8EDA89C033E}">
      <dgm:prSet/>
      <dgm:spPr/>
      <dgm:t>
        <a:bodyPr/>
        <a:lstStyle/>
        <a:p>
          <a:endParaRPr lang="en-US"/>
        </a:p>
      </dgm:t>
    </dgm:pt>
    <dgm:pt modelId="{F768B871-C217-4B83-8C87-1DF943DA90AE}" type="sibTrans" cxnId="{464376DC-7D31-44E1-8380-E8EDA89C033E}">
      <dgm:prSet/>
      <dgm:spPr/>
      <dgm:t>
        <a:bodyPr/>
        <a:lstStyle/>
        <a:p>
          <a:endParaRPr lang="en-US"/>
        </a:p>
      </dgm:t>
    </dgm:pt>
    <dgm:pt modelId="{B48D71CD-EA37-42AF-8DE4-EB95924E320C}">
      <dgm:prSet phldrT="[Text]"/>
      <dgm:spPr/>
      <dgm:t>
        <a:bodyPr/>
        <a:lstStyle/>
        <a:p>
          <a:r>
            <a:rPr lang="en-US" dirty="0" smtClean="0"/>
            <a:t>Input Form</a:t>
          </a:r>
          <a:endParaRPr lang="en-US" dirty="0"/>
        </a:p>
      </dgm:t>
    </dgm:pt>
    <dgm:pt modelId="{CD7EC3CA-59BA-471D-BE56-98296DEB7C95}" type="parTrans" cxnId="{3686D84A-F320-49DC-95E8-E181E7FE7715}">
      <dgm:prSet/>
      <dgm:spPr/>
      <dgm:t>
        <a:bodyPr/>
        <a:lstStyle/>
        <a:p>
          <a:endParaRPr lang="en-US"/>
        </a:p>
      </dgm:t>
    </dgm:pt>
    <dgm:pt modelId="{95C08E60-D43D-48F6-8ED9-57F214188ABF}" type="sibTrans" cxnId="{3686D84A-F320-49DC-95E8-E181E7FE7715}">
      <dgm:prSet/>
      <dgm:spPr/>
      <dgm:t>
        <a:bodyPr/>
        <a:lstStyle/>
        <a:p>
          <a:endParaRPr lang="en-US" sz="20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120597" custScaleY="65664"/>
      <dgm:spPr/>
      <dgm:t>
        <a:bodyPr/>
        <a:lstStyle/>
        <a:p>
          <a:endParaRPr lang="en-US"/>
        </a:p>
      </dgm:t>
    </dgm:pt>
    <dgm:pt modelId="{FF740D9C-BB4A-4A69-A650-C33BF11DC02D}" type="pres">
      <dgm:prSet presAssocID="{3FFE60C6-5493-4DD4-BBE6-B3A4619017CC}" presName="node" presStyleLbl="node1" presStyleIdx="0" presStyleCnt="4" custScaleX="142910">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custScaleX="234978">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dgm:spPr/>
      <dgm:t>
        <a:bodyPr/>
        <a:lstStyle/>
        <a:p>
          <a:endParaRPr lang="en-US"/>
        </a:p>
      </dgm:t>
    </dgm:pt>
    <dgm:pt modelId="{0A17AF9F-C04E-41A0-AEFF-82D66218B9C8}" type="pres">
      <dgm:prSet presAssocID="{236BE4F3-81F0-4A45-850A-113F136CD8F8}" presName="node" presStyleLbl="node1" presStyleIdx="2" presStyleCnt="4">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CB2FC131-7EFA-4B5D-A768-E14BE7A64AB9}" type="presOf" srcId="{5F44E9E3-E2D9-4E50-9CD4-4EC251A8BF1C}" destId="{11A38E0B-38D6-4789-8277-9D34D0F92EF0}" srcOrd="0" destOrd="0" presId="urn:microsoft.com/office/officeart/2005/8/layout/radial6"/>
    <dgm:cxn modelId="{3C213443-104B-49CC-8F3C-5631E1C7DAAE}" type="presOf" srcId="{EF7FBD8A-C26E-4C85-90A0-A2A4E053BB99}" destId="{8F5137FA-152A-4104-9AB8-ED4CBB4AFC1E}" srcOrd="0" destOrd="0" presId="urn:microsoft.com/office/officeart/2005/8/layout/radial6"/>
    <dgm:cxn modelId="{8654E97F-1F31-410F-89A3-E2BE32ED3BFF}" srcId="{C9D9F858-39C1-42AB-911C-822FED233670}" destId="{3FFE60C6-5493-4DD4-BBE6-B3A4619017CC}" srcOrd="0" destOrd="0" parTransId="{7BD36542-20DA-4FBE-8973-C426D00BAC4B}" sibTransId="{5F44E9E3-E2D9-4E50-9CD4-4EC251A8BF1C}"/>
    <dgm:cxn modelId="{3686D84A-F320-49DC-95E8-E181E7FE7715}" srcId="{C9D9F858-39C1-42AB-911C-822FED233670}" destId="{B48D71CD-EA37-42AF-8DE4-EB95924E320C}" srcOrd="3" destOrd="0" parTransId="{CD7EC3CA-59BA-471D-BE56-98296DEB7C95}" sibTransId="{95C08E60-D43D-48F6-8ED9-57F214188ABF}"/>
    <dgm:cxn modelId="{89D2FD78-8A02-4C5F-BBCB-0C9324A76008}" type="presOf" srcId="{95C08E60-D43D-48F6-8ED9-57F214188ABF}" destId="{C78EC8AF-3388-43CC-BC05-5EB25A273C51}" srcOrd="0" destOrd="0" presId="urn:microsoft.com/office/officeart/2005/8/layout/radial6"/>
    <dgm:cxn modelId="{BDCB479A-8765-4F35-B42F-265724B359FE}" type="presOf" srcId="{D0BFBFD3-8B66-4D76-9BFB-40EC9D662356}" destId="{D750D8F3-B7C9-468B-BF26-35D7E8E952D3}"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464376DC-7D31-44E1-8380-E8EDA89C033E}" srcId="{C9D9F858-39C1-42AB-911C-822FED233670}" destId="{236BE4F3-81F0-4A45-850A-113F136CD8F8}" srcOrd="2" destOrd="0" parTransId="{687077C6-A573-4169-AFEE-E539CD3EB363}" sibTransId="{F768B871-C217-4B83-8C87-1DF943DA90AE}"/>
    <dgm:cxn modelId="{A55CF3D1-F859-4DDE-94E4-34171CF27C0E}" type="presOf" srcId="{3FFE60C6-5493-4DD4-BBE6-B3A4619017CC}" destId="{FF740D9C-BB4A-4A69-A650-C33BF11DC02D}" srcOrd="0" destOrd="0" presId="urn:microsoft.com/office/officeart/2005/8/layout/radial6"/>
    <dgm:cxn modelId="{93E0955B-9607-4974-BA3E-A823D61C65D1}" type="presOf" srcId="{C3697A96-AF43-442D-9FCA-C2B49082A025}" destId="{3E6553F9-EB93-4BD2-B857-827BEB672EF1}" srcOrd="0" destOrd="0" presId="urn:microsoft.com/office/officeart/2005/8/layout/radial6"/>
    <dgm:cxn modelId="{AA6C9452-CF04-4AE8-8DF3-EE0B3C1D54A7}" type="presOf" srcId="{236BE4F3-81F0-4A45-850A-113F136CD8F8}" destId="{0A17AF9F-C04E-41A0-AEFF-82D66218B9C8}" srcOrd="0" destOrd="0" presId="urn:microsoft.com/office/officeart/2005/8/layout/radial6"/>
    <dgm:cxn modelId="{557A92A5-35C4-4A77-92F8-AD96D22EB86E}" type="presOf" srcId="{C9D9F858-39C1-42AB-911C-822FED233670}" destId="{6E8D21F7-0FE0-4624-9708-8E88D634BF2D}" srcOrd="0" destOrd="0" presId="urn:microsoft.com/office/officeart/2005/8/layout/radial6"/>
    <dgm:cxn modelId="{6E9E9451-F853-4FC8-BDEC-A4EAC7916E16}" type="presOf" srcId="{F768B871-C217-4B83-8C87-1DF943DA90AE}" destId="{CB829480-2B86-443C-8B10-3467EFC8B8A4}" srcOrd="0" destOrd="0" presId="urn:microsoft.com/office/officeart/2005/8/layout/radial6"/>
    <dgm:cxn modelId="{F65A3851-F2C2-4767-8396-12011EDBB845}" type="presOf" srcId="{B48D71CD-EA37-42AF-8DE4-EB95924E320C}" destId="{A71994AC-2F45-41D0-B3D8-B04A1FEC4434}" srcOrd="0" destOrd="0" presId="urn:microsoft.com/office/officeart/2005/8/layout/radial6"/>
    <dgm:cxn modelId="{09C675B0-00D0-4C03-8688-D39B2337C802}" srcId="{C3697A96-AF43-442D-9FCA-C2B49082A025}" destId="{C9D9F858-39C1-42AB-911C-822FED233670}" srcOrd="0" destOrd="0" parTransId="{3938A332-DB37-4F78-92AA-CA9886DEAE7D}" sibTransId="{93FD8214-A213-490D-BC11-486A650D87D9}"/>
    <dgm:cxn modelId="{2DD73ACB-E28F-44F3-AA9C-7C50D1350C84}" type="presParOf" srcId="{3E6553F9-EB93-4BD2-B857-827BEB672EF1}" destId="{6E8D21F7-0FE0-4624-9708-8E88D634BF2D}" srcOrd="0" destOrd="0" presId="urn:microsoft.com/office/officeart/2005/8/layout/radial6"/>
    <dgm:cxn modelId="{46FEEBF8-4193-44B2-AD2A-F3694B504B68}" type="presParOf" srcId="{3E6553F9-EB93-4BD2-B857-827BEB672EF1}" destId="{FF740D9C-BB4A-4A69-A650-C33BF11DC02D}" srcOrd="1" destOrd="0" presId="urn:microsoft.com/office/officeart/2005/8/layout/radial6"/>
    <dgm:cxn modelId="{C27ABEFB-3F3F-44EF-9EDF-5050369F5EB4}" type="presParOf" srcId="{3E6553F9-EB93-4BD2-B857-827BEB672EF1}" destId="{3936E49F-3426-4AD1-B8B5-AE3239B05171}" srcOrd="2" destOrd="0" presId="urn:microsoft.com/office/officeart/2005/8/layout/radial6"/>
    <dgm:cxn modelId="{E621A4EB-56C6-4E60-8FBE-DA743B9EC407}" type="presParOf" srcId="{3E6553F9-EB93-4BD2-B857-827BEB672EF1}" destId="{11A38E0B-38D6-4789-8277-9D34D0F92EF0}" srcOrd="3" destOrd="0" presId="urn:microsoft.com/office/officeart/2005/8/layout/radial6"/>
    <dgm:cxn modelId="{31B29B3D-A602-4D71-88AD-FA19792C2DF9}" type="presParOf" srcId="{3E6553F9-EB93-4BD2-B857-827BEB672EF1}" destId="{8F5137FA-152A-4104-9AB8-ED4CBB4AFC1E}" srcOrd="4" destOrd="0" presId="urn:microsoft.com/office/officeart/2005/8/layout/radial6"/>
    <dgm:cxn modelId="{E1D9B1B6-60EA-47D7-85C4-4CE95EE7FF85}" type="presParOf" srcId="{3E6553F9-EB93-4BD2-B857-827BEB672EF1}" destId="{A6847734-9CF1-4AD3-855E-8AD6D6DFF608}" srcOrd="5" destOrd="0" presId="urn:microsoft.com/office/officeart/2005/8/layout/radial6"/>
    <dgm:cxn modelId="{1C12BF9F-855D-4F7C-B75E-F1BEF83018B5}" type="presParOf" srcId="{3E6553F9-EB93-4BD2-B857-827BEB672EF1}" destId="{D750D8F3-B7C9-468B-BF26-35D7E8E952D3}" srcOrd="6" destOrd="0" presId="urn:microsoft.com/office/officeart/2005/8/layout/radial6"/>
    <dgm:cxn modelId="{74AC0BBD-895B-428C-BA43-2581F4421AE5}" type="presParOf" srcId="{3E6553F9-EB93-4BD2-B857-827BEB672EF1}" destId="{0A17AF9F-C04E-41A0-AEFF-82D66218B9C8}" srcOrd="7" destOrd="0" presId="urn:microsoft.com/office/officeart/2005/8/layout/radial6"/>
    <dgm:cxn modelId="{DCD87FED-836E-4A5A-955E-B50DCB20F249}" type="presParOf" srcId="{3E6553F9-EB93-4BD2-B857-827BEB672EF1}" destId="{033F80D6-EF96-4D4E-B299-F841D85DAFC9}" srcOrd="8" destOrd="0" presId="urn:microsoft.com/office/officeart/2005/8/layout/radial6"/>
    <dgm:cxn modelId="{0BC9C7ED-F14F-4BAF-A1D3-ABF290723024}" type="presParOf" srcId="{3E6553F9-EB93-4BD2-B857-827BEB672EF1}" destId="{CB829480-2B86-443C-8B10-3467EFC8B8A4}" srcOrd="9" destOrd="0" presId="urn:microsoft.com/office/officeart/2005/8/layout/radial6"/>
    <dgm:cxn modelId="{505EA407-EB27-4F9C-85A8-82B7490F70DB}" type="presParOf" srcId="{3E6553F9-EB93-4BD2-B857-827BEB672EF1}" destId="{A71994AC-2F45-41D0-B3D8-B04A1FEC4434}" srcOrd="10" destOrd="0" presId="urn:microsoft.com/office/officeart/2005/8/layout/radial6"/>
    <dgm:cxn modelId="{1D7F9E56-014F-4532-8B93-073B47917509}" type="presParOf" srcId="{3E6553F9-EB93-4BD2-B857-827BEB672EF1}" destId="{B66084F5-7676-4D43-9B80-580E7774462D}" srcOrd="11" destOrd="0" presId="urn:microsoft.com/office/officeart/2005/8/layout/radial6"/>
    <dgm:cxn modelId="{59F41205-8A45-4FA4-9E5F-E07AF08176A5}" type="presParOf" srcId="{3E6553F9-EB93-4BD2-B857-827BEB672EF1}" destId="{C78EC8AF-3388-43CC-BC05-5EB25A273C51}" srcOrd="12" destOrd="0" presId="urn:microsoft.com/office/officeart/2005/8/layout/radial6"/>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dgm:t>
        <a:bodyPr/>
        <a:lstStyle/>
        <a:p>
          <a:r>
            <a:rPr lang="en-US" sz="800" dirty="0" smtClean="0"/>
            <a:t>Agronomic</a:t>
          </a:r>
        </a:p>
        <a:p>
          <a:r>
            <a:rPr lang="en-US" sz="800" dirty="0" smtClean="0"/>
            <a:t>Fundamentals</a:t>
          </a:r>
          <a:endParaRPr lang="en-US" sz="800" dirty="0"/>
        </a:p>
      </dgm:t>
    </dgm:pt>
    <dgm:pt modelId="{3938A332-DB37-4F78-92AA-CA9886DEAE7D}" type="parTrans" cxnId="{09C675B0-00D0-4C03-8688-D39B2337C802}">
      <dgm:prSet/>
      <dgm:spPr/>
      <dgm:t>
        <a:bodyPr/>
        <a:lstStyle/>
        <a:p>
          <a:endParaRPr lang="en-US"/>
        </a:p>
      </dgm:t>
    </dgm:pt>
    <dgm:pt modelId="{93FD8214-A213-490D-BC11-486A650D87D9}" type="sibTrans" cxnId="{09C675B0-00D0-4C03-8688-D39B2337C802}">
      <dgm:prSet/>
      <dgm:spPr/>
      <dgm:t>
        <a:bodyPr/>
        <a:lstStyle/>
        <a:p>
          <a:endParaRPr lang="en-US"/>
        </a:p>
      </dgm:t>
    </dgm:pt>
    <dgm:pt modelId="{3FFE60C6-5493-4DD4-BBE6-B3A4619017CC}">
      <dgm:prSet phldrT="[Text]"/>
      <dgm:spPr/>
      <dgm:t>
        <a:bodyPr/>
        <a:lstStyle/>
        <a:p>
          <a:r>
            <a:rPr lang="en-US" dirty="0" smtClean="0">
              <a:solidFill>
                <a:schemeClr val="bg1"/>
              </a:solidFill>
            </a:rPr>
            <a:t>Input Placement</a:t>
          </a:r>
          <a:endParaRPr lang="en-US" dirty="0">
            <a:solidFill>
              <a:schemeClr val="bg1"/>
            </a:solidFill>
          </a:endParaRPr>
        </a:p>
      </dgm:t>
    </dgm:pt>
    <dgm:pt modelId="{7BD36542-20DA-4FBE-8973-C426D00BAC4B}" type="parTrans" cxnId="{8654E97F-1F31-410F-89A3-E2BE32ED3BFF}">
      <dgm:prSet/>
      <dgm:spPr/>
      <dgm:t>
        <a:bodyPr/>
        <a:lstStyle/>
        <a:p>
          <a:endParaRPr lang="en-US"/>
        </a:p>
      </dgm:t>
    </dgm:pt>
    <dgm:pt modelId="{5F44E9E3-E2D9-4E50-9CD4-4EC251A8BF1C}" type="sibTrans" cxnId="{8654E97F-1F31-410F-89A3-E2BE32ED3BFF}">
      <dgm:prSet/>
      <dgm:spPr/>
      <dgm:t>
        <a:bodyPr/>
        <a:lstStyle/>
        <a:p>
          <a:endParaRPr lang="en-US"/>
        </a:p>
      </dgm:t>
    </dgm:pt>
    <dgm:pt modelId="{EF7FBD8A-C26E-4C85-90A0-A2A4E053BB99}">
      <dgm:prSet phldrT="[Text]"/>
      <dgm:spPr>
        <a:solidFill>
          <a:schemeClr val="accent1"/>
        </a:solidFill>
      </dgm:spPr>
      <dgm:t>
        <a:bodyPr/>
        <a:lstStyle/>
        <a:p>
          <a:r>
            <a:rPr lang="en-US" dirty="0" smtClean="0">
              <a:solidFill>
                <a:schemeClr val="bg1"/>
              </a:solidFill>
            </a:rPr>
            <a:t>Application Timing</a:t>
          </a:r>
          <a:endParaRPr lang="en-US" dirty="0">
            <a:solidFill>
              <a:schemeClr val="bg1"/>
            </a:solidFill>
          </a:endParaRPr>
        </a:p>
      </dgm:t>
    </dgm:pt>
    <dgm:pt modelId="{4532011D-2361-46E2-A02E-6D61338F6C27}" type="parTrans" cxnId="{CB90D655-1B9C-49EC-A774-53F4BBD77504}">
      <dgm:prSet/>
      <dgm:spPr/>
      <dgm:t>
        <a:bodyPr/>
        <a:lstStyle/>
        <a:p>
          <a:endParaRPr lang="en-US"/>
        </a:p>
      </dgm:t>
    </dgm:pt>
    <dgm:pt modelId="{D0BFBFD3-8B66-4D76-9BFB-40EC9D662356}" type="sibTrans" cxnId="{CB90D655-1B9C-49EC-A774-53F4BBD77504}">
      <dgm:prSet/>
      <dgm:spPr/>
      <dgm:t>
        <a:bodyPr/>
        <a:lstStyle/>
        <a:p>
          <a:endParaRPr lang="en-US"/>
        </a:p>
      </dgm:t>
    </dgm:pt>
    <dgm:pt modelId="{236BE4F3-81F0-4A45-850A-113F136CD8F8}">
      <dgm:prSet phldrT="[Text]"/>
      <dgm:spPr/>
      <dgm:t>
        <a:bodyPr/>
        <a:lstStyle/>
        <a:p>
          <a:r>
            <a:rPr lang="en-US" dirty="0" smtClean="0"/>
            <a:t>Application Rate</a:t>
          </a:r>
          <a:endParaRPr lang="en-US" dirty="0"/>
        </a:p>
      </dgm:t>
    </dgm:pt>
    <dgm:pt modelId="{687077C6-A573-4169-AFEE-E539CD3EB363}" type="parTrans" cxnId="{464376DC-7D31-44E1-8380-E8EDA89C033E}">
      <dgm:prSet/>
      <dgm:spPr/>
      <dgm:t>
        <a:bodyPr/>
        <a:lstStyle/>
        <a:p>
          <a:endParaRPr lang="en-US"/>
        </a:p>
      </dgm:t>
    </dgm:pt>
    <dgm:pt modelId="{F768B871-C217-4B83-8C87-1DF943DA90AE}" type="sibTrans" cxnId="{464376DC-7D31-44E1-8380-E8EDA89C033E}">
      <dgm:prSet/>
      <dgm:spPr/>
      <dgm:t>
        <a:bodyPr/>
        <a:lstStyle/>
        <a:p>
          <a:endParaRPr lang="en-US"/>
        </a:p>
      </dgm:t>
    </dgm:pt>
    <dgm:pt modelId="{B48D71CD-EA37-42AF-8DE4-EB95924E320C}">
      <dgm:prSet phldrT="[Text]" custT="1"/>
      <dgm:spPr>
        <a:solidFill>
          <a:schemeClr val="accent2"/>
        </a:solidFill>
      </dgm:spPr>
      <dgm:t>
        <a:bodyPr/>
        <a:lstStyle/>
        <a:p>
          <a:r>
            <a:rPr lang="en-US" sz="1400" dirty="0" smtClean="0">
              <a:solidFill>
                <a:schemeClr val="tx1"/>
              </a:solidFill>
            </a:rPr>
            <a:t>Input Form</a:t>
          </a:r>
          <a:endParaRPr lang="en-US" sz="1400" dirty="0">
            <a:solidFill>
              <a:schemeClr val="tx1"/>
            </a:solidFill>
          </a:endParaRPr>
        </a:p>
      </dgm:t>
    </dgm:pt>
    <dgm:pt modelId="{CD7EC3CA-59BA-471D-BE56-98296DEB7C95}" type="parTrans" cxnId="{3686D84A-F320-49DC-95E8-E181E7FE7715}">
      <dgm:prSet/>
      <dgm:spPr/>
      <dgm:t>
        <a:bodyPr/>
        <a:lstStyle/>
        <a:p>
          <a:endParaRPr lang="en-US"/>
        </a:p>
      </dgm:t>
    </dgm:pt>
    <dgm:pt modelId="{95C08E60-D43D-48F6-8ED9-57F214188ABF}" type="sibTrans" cxnId="{3686D84A-F320-49DC-95E8-E181E7FE7715}">
      <dgm:prSet/>
      <dgm:spPr/>
      <dgm:t>
        <a:bodyPr/>
        <a:lstStyle/>
        <a:p>
          <a:endParaRPr lang="en-US" sz="20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120597" custScaleY="65664"/>
      <dgm:spPr/>
      <dgm:t>
        <a:bodyPr/>
        <a:lstStyle/>
        <a:p>
          <a:endParaRPr lang="en-US"/>
        </a:p>
      </dgm:t>
    </dgm:pt>
    <dgm:pt modelId="{FF740D9C-BB4A-4A69-A650-C33BF11DC02D}" type="pres">
      <dgm:prSet presAssocID="{3FFE60C6-5493-4DD4-BBE6-B3A4619017CC}" presName="node" presStyleLbl="node1" presStyleIdx="0" presStyleCnt="4" custScaleX="142910">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dgm:spPr/>
      <dgm:t>
        <a:bodyPr/>
        <a:lstStyle/>
        <a:p>
          <a:endParaRPr lang="en-US"/>
        </a:p>
      </dgm:t>
    </dgm:pt>
    <dgm:pt modelId="{0A17AF9F-C04E-41A0-AEFF-82D66218B9C8}" type="pres">
      <dgm:prSet presAssocID="{236BE4F3-81F0-4A45-850A-113F136CD8F8}" presName="node" presStyleLbl="node1" presStyleIdx="2" presStyleCnt="4">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custScaleX="140120">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7F0748F0-06FD-466C-8F46-31818CEC35AA}" type="presOf" srcId="{C3697A96-AF43-442D-9FCA-C2B49082A025}" destId="{3E6553F9-EB93-4BD2-B857-827BEB672EF1}" srcOrd="0" destOrd="0" presId="urn:microsoft.com/office/officeart/2005/8/layout/radial6"/>
    <dgm:cxn modelId="{8654E97F-1F31-410F-89A3-E2BE32ED3BFF}" srcId="{C9D9F858-39C1-42AB-911C-822FED233670}" destId="{3FFE60C6-5493-4DD4-BBE6-B3A4619017CC}" srcOrd="0" destOrd="0" parTransId="{7BD36542-20DA-4FBE-8973-C426D00BAC4B}" sibTransId="{5F44E9E3-E2D9-4E50-9CD4-4EC251A8BF1C}"/>
    <dgm:cxn modelId="{1A592C2F-5A59-4F65-95F6-016C2A1F7DF6}" type="presOf" srcId="{B48D71CD-EA37-42AF-8DE4-EB95924E320C}" destId="{A71994AC-2F45-41D0-B3D8-B04A1FEC4434}" srcOrd="0" destOrd="0" presId="urn:microsoft.com/office/officeart/2005/8/layout/radial6"/>
    <dgm:cxn modelId="{EA9805F0-E132-4621-94D8-EE524EE0C926}" type="presOf" srcId="{95C08E60-D43D-48F6-8ED9-57F214188ABF}" destId="{C78EC8AF-3388-43CC-BC05-5EB25A273C51}" srcOrd="0" destOrd="0" presId="urn:microsoft.com/office/officeart/2005/8/layout/radial6"/>
    <dgm:cxn modelId="{E1999360-AA7A-427D-A563-3A0159E33F72}" type="presOf" srcId="{D0BFBFD3-8B66-4D76-9BFB-40EC9D662356}" destId="{D750D8F3-B7C9-468B-BF26-35D7E8E952D3}" srcOrd="0" destOrd="0" presId="urn:microsoft.com/office/officeart/2005/8/layout/radial6"/>
    <dgm:cxn modelId="{74BA8E1B-1B49-4B62-A3A9-78D0A5B1D256}" type="presOf" srcId="{EF7FBD8A-C26E-4C85-90A0-A2A4E053BB99}" destId="{8F5137FA-152A-4104-9AB8-ED4CBB4AFC1E}" srcOrd="0" destOrd="0" presId="urn:microsoft.com/office/officeart/2005/8/layout/radial6"/>
    <dgm:cxn modelId="{09C675B0-00D0-4C03-8688-D39B2337C802}" srcId="{C3697A96-AF43-442D-9FCA-C2B49082A025}" destId="{C9D9F858-39C1-42AB-911C-822FED233670}" srcOrd="0" destOrd="0" parTransId="{3938A332-DB37-4F78-92AA-CA9886DEAE7D}" sibTransId="{93FD8214-A213-490D-BC11-486A650D87D9}"/>
    <dgm:cxn modelId="{9465F06D-8BE3-45D2-B026-57BB76255B4A}" type="presOf" srcId="{3FFE60C6-5493-4DD4-BBE6-B3A4619017CC}" destId="{FF740D9C-BB4A-4A69-A650-C33BF11DC02D}" srcOrd="0" destOrd="0" presId="urn:microsoft.com/office/officeart/2005/8/layout/radial6"/>
    <dgm:cxn modelId="{3686D84A-F320-49DC-95E8-E181E7FE7715}" srcId="{C9D9F858-39C1-42AB-911C-822FED233670}" destId="{B48D71CD-EA37-42AF-8DE4-EB95924E320C}" srcOrd="3" destOrd="0" parTransId="{CD7EC3CA-59BA-471D-BE56-98296DEB7C95}" sibTransId="{95C08E60-D43D-48F6-8ED9-57F214188ABF}"/>
    <dgm:cxn modelId="{8F510F39-1545-481D-ACCA-7E7E82EF700C}" type="presOf" srcId="{C9D9F858-39C1-42AB-911C-822FED233670}" destId="{6E8D21F7-0FE0-4624-9708-8E88D634BF2D}" srcOrd="0" destOrd="0" presId="urn:microsoft.com/office/officeart/2005/8/layout/radial6"/>
    <dgm:cxn modelId="{2D513FA2-F9B9-4FA0-B860-AFA067D04CBB}" type="presOf" srcId="{5F44E9E3-E2D9-4E50-9CD4-4EC251A8BF1C}" destId="{11A38E0B-38D6-4789-8277-9D34D0F92EF0}" srcOrd="0" destOrd="0" presId="urn:microsoft.com/office/officeart/2005/8/layout/radial6"/>
    <dgm:cxn modelId="{CD83D409-FCC4-49B9-A085-97E8FAFFE214}" type="presOf" srcId="{236BE4F3-81F0-4A45-850A-113F136CD8F8}" destId="{0A17AF9F-C04E-41A0-AEFF-82D66218B9C8}"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6DAFEE3B-EFD5-46AB-85CC-36327AAF5C16}" type="presOf" srcId="{F768B871-C217-4B83-8C87-1DF943DA90AE}" destId="{CB829480-2B86-443C-8B10-3467EFC8B8A4}" srcOrd="0" destOrd="0" presId="urn:microsoft.com/office/officeart/2005/8/layout/radial6"/>
    <dgm:cxn modelId="{464376DC-7D31-44E1-8380-E8EDA89C033E}" srcId="{C9D9F858-39C1-42AB-911C-822FED233670}" destId="{236BE4F3-81F0-4A45-850A-113F136CD8F8}" srcOrd="2" destOrd="0" parTransId="{687077C6-A573-4169-AFEE-E539CD3EB363}" sibTransId="{F768B871-C217-4B83-8C87-1DF943DA90AE}"/>
    <dgm:cxn modelId="{AABB2C33-F7D8-421C-9EF1-13B0DB6B4751}" type="presParOf" srcId="{3E6553F9-EB93-4BD2-B857-827BEB672EF1}" destId="{6E8D21F7-0FE0-4624-9708-8E88D634BF2D}" srcOrd="0" destOrd="0" presId="urn:microsoft.com/office/officeart/2005/8/layout/radial6"/>
    <dgm:cxn modelId="{5E73AAFD-A02B-470B-86DC-5A5C18FD32A9}" type="presParOf" srcId="{3E6553F9-EB93-4BD2-B857-827BEB672EF1}" destId="{FF740D9C-BB4A-4A69-A650-C33BF11DC02D}" srcOrd="1" destOrd="0" presId="urn:microsoft.com/office/officeart/2005/8/layout/radial6"/>
    <dgm:cxn modelId="{648971A9-8CFA-4D70-9A94-83C30DEB28D8}" type="presParOf" srcId="{3E6553F9-EB93-4BD2-B857-827BEB672EF1}" destId="{3936E49F-3426-4AD1-B8B5-AE3239B05171}" srcOrd="2" destOrd="0" presId="urn:microsoft.com/office/officeart/2005/8/layout/radial6"/>
    <dgm:cxn modelId="{1D4B9FD5-3EAE-4A4E-BEB0-278C9FACF225}" type="presParOf" srcId="{3E6553F9-EB93-4BD2-B857-827BEB672EF1}" destId="{11A38E0B-38D6-4789-8277-9D34D0F92EF0}" srcOrd="3" destOrd="0" presId="urn:microsoft.com/office/officeart/2005/8/layout/radial6"/>
    <dgm:cxn modelId="{A65130BD-2EF9-43BE-91BD-13CAD8AEEE4A}" type="presParOf" srcId="{3E6553F9-EB93-4BD2-B857-827BEB672EF1}" destId="{8F5137FA-152A-4104-9AB8-ED4CBB4AFC1E}" srcOrd="4" destOrd="0" presId="urn:microsoft.com/office/officeart/2005/8/layout/radial6"/>
    <dgm:cxn modelId="{10B9DC48-B141-46B2-B6F3-8ADA12CD3589}" type="presParOf" srcId="{3E6553F9-EB93-4BD2-B857-827BEB672EF1}" destId="{A6847734-9CF1-4AD3-855E-8AD6D6DFF608}" srcOrd="5" destOrd="0" presId="urn:microsoft.com/office/officeart/2005/8/layout/radial6"/>
    <dgm:cxn modelId="{F3C3A644-2978-4EE3-ABC0-4EC8AE8532FC}" type="presParOf" srcId="{3E6553F9-EB93-4BD2-B857-827BEB672EF1}" destId="{D750D8F3-B7C9-468B-BF26-35D7E8E952D3}" srcOrd="6" destOrd="0" presId="urn:microsoft.com/office/officeart/2005/8/layout/radial6"/>
    <dgm:cxn modelId="{3817CAD4-8B45-4725-BEB3-7C055830ED8E}" type="presParOf" srcId="{3E6553F9-EB93-4BD2-B857-827BEB672EF1}" destId="{0A17AF9F-C04E-41A0-AEFF-82D66218B9C8}" srcOrd="7" destOrd="0" presId="urn:microsoft.com/office/officeart/2005/8/layout/radial6"/>
    <dgm:cxn modelId="{BE8990B2-EE9F-4F81-923B-CB4568F199CD}" type="presParOf" srcId="{3E6553F9-EB93-4BD2-B857-827BEB672EF1}" destId="{033F80D6-EF96-4D4E-B299-F841D85DAFC9}" srcOrd="8" destOrd="0" presId="urn:microsoft.com/office/officeart/2005/8/layout/radial6"/>
    <dgm:cxn modelId="{1D17BF06-8ACA-4A71-815D-85E7C7DFA4B1}" type="presParOf" srcId="{3E6553F9-EB93-4BD2-B857-827BEB672EF1}" destId="{CB829480-2B86-443C-8B10-3467EFC8B8A4}" srcOrd="9" destOrd="0" presId="urn:microsoft.com/office/officeart/2005/8/layout/radial6"/>
    <dgm:cxn modelId="{4643201C-066E-4205-AC02-F879CD31BAB6}" type="presParOf" srcId="{3E6553F9-EB93-4BD2-B857-827BEB672EF1}" destId="{A71994AC-2F45-41D0-B3D8-B04A1FEC4434}" srcOrd="10" destOrd="0" presId="urn:microsoft.com/office/officeart/2005/8/layout/radial6"/>
    <dgm:cxn modelId="{03F4A7B3-B5CC-424B-8B55-C10E9EE5ED72}" type="presParOf" srcId="{3E6553F9-EB93-4BD2-B857-827BEB672EF1}" destId="{B66084F5-7676-4D43-9B80-580E7774462D}" srcOrd="11" destOrd="0" presId="urn:microsoft.com/office/officeart/2005/8/layout/radial6"/>
    <dgm:cxn modelId="{DF205380-7928-4779-8339-DC10768E91BA}" type="presParOf" srcId="{3E6553F9-EB93-4BD2-B857-827BEB672EF1}" destId="{C78EC8AF-3388-43CC-BC05-5EB25A273C51}" srcOrd="12" destOrd="0" presId="urn:microsoft.com/office/officeart/2005/8/layout/radial6"/>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3697A96-AF43-442D-9FCA-C2B49082A025}" type="doc">
      <dgm:prSet loTypeId="urn:microsoft.com/office/officeart/2005/8/layout/radial6" loCatId="cycle" qsTypeId="urn:microsoft.com/office/officeart/2005/8/quickstyle/3d3" qsCatId="3D" csTypeId="urn:microsoft.com/office/officeart/2005/8/colors/accent1_2" csCatId="accent1" phldr="1"/>
      <dgm:spPr/>
      <dgm:t>
        <a:bodyPr/>
        <a:lstStyle/>
        <a:p>
          <a:endParaRPr lang="en-US"/>
        </a:p>
      </dgm:t>
    </dgm:pt>
    <dgm:pt modelId="{C9D9F858-39C1-42AB-911C-822FED233670}">
      <dgm:prSet phldrT="[Text]" custT="1"/>
      <dgm:spPr>
        <a:solidFill>
          <a:schemeClr val="accent2"/>
        </a:solidFill>
      </dgm:spPr>
      <dgm:t>
        <a:bodyPr/>
        <a:lstStyle/>
        <a:p>
          <a:r>
            <a:rPr lang="en-US" sz="1400" b="1" dirty="0" smtClean="0">
              <a:solidFill>
                <a:schemeClr val="tx1"/>
              </a:solidFill>
            </a:rPr>
            <a:t>Agronomic</a:t>
          </a:r>
        </a:p>
        <a:p>
          <a:r>
            <a:rPr lang="en-US" sz="1400" b="1" dirty="0" smtClean="0">
              <a:solidFill>
                <a:schemeClr val="tx1"/>
              </a:solidFill>
            </a:rPr>
            <a:t>Fundamentals</a:t>
          </a:r>
          <a:endParaRPr lang="en-US" sz="1400" b="1" dirty="0">
            <a:solidFill>
              <a:schemeClr val="tx1"/>
            </a:solidFill>
          </a:endParaRPr>
        </a:p>
      </dgm:t>
    </dgm:pt>
    <dgm:pt modelId="{3938A332-DB37-4F78-92AA-CA9886DEAE7D}" type="parTrans" cxnId="{09C675B0-00D0-4C03-8688-D39B2337C802}">
      <dgm:prSet/>
      <dgm:spPr/>
      <dgm:t>
        <a:bodyPr/>
        <a:lstStyle/>
        <a:p>
          <a:endParaRPr lang="en-US"/>
        </a:p>
      </dgm:t>
    </dgm:pt>
    <dgm:pt modelId="{93FD8214-A213-490D-BC11-486A650D87D9}" type="sibTrans" cxnId="{09C675B0-00D0-4C03-8688-D39B2337C802}">
      <dgm:prSet/>
      <dgm:spPr/>
      <dgm:t>
        <a:bodyPr/>
        <a:lstStyle/>
        <a:p>
          <a:endParaRPr lang="en-US"/>
        </a:p>
      </dgm:t>
    </dgm:pt>
    <dgm:pt modelId="{3FFE60C6-5493-4DD4-BBE6-B3A4619017CC}">
      <dgm:prSet phldrT="[Text]"/>
      <dgm:spPr/>
      <dgm:t>
        <a:bodyPr/>
        <a:lstStyle/>
        <a:p>
          <a:r>
            <a:rPr lang="en-US" dirty="0" smtClean="0">
              <a:solidFill>
                <a:schemeClr val="bg1"/>
              </a:solidFill>
            </a:rPr>
            <a:t>Input Placement</a:t>
          </a:r>
          <a:endParaRPr lang="en-US" dirty="0">
            <a:solidFill>
              <a:schemeClr val="bg1"/>
            </a:solidFill>
          </a:endParaRPr>
        </a:p>
      </dgm:t>
    </dgm:pt>
    <dgm:pt modelId="{7BD36542-20DA-4FBE-8973-C426D00BAC4B}" type="parTrans" cxnId="{8654E97F-1F31-410F-89A3-E2BE32ED3BFF}">
      <dgm:prSet/>
      <dgm:spPr/>
      <dgm:t>
        <a:bodyPr/>
        <a:lstStyle/>
        <a:p>
          <a:endParaRPr lang="en-US"/>
        </a:p>
      </dgm:t>
    </dgm:pt>
    <dgm:pt modelId="{5F44E9E3-E2D9-4E50-9CD4-4EC251A8BF1C}" type="sibTrans" cxnId="{8654E97F-1F31-410F-89A3-E2BE32ED3BFF}">
      <dgm:prSet/>
      <dgm:spPr/>
      <dgm:t>
        <a:bodyPr/>
        <a:lstStyle/>
        <a:p>
          <a:endParaRPr lang="en-US"/>
        </a:p>
      </dgm:t>
    </dgm:pt>
    <dgm:pt modelId="{EF7FBD8A-C26E-4C85-90A0-A2A4E053BB99}">
      <dgm:prSet phldrT="[Text]"/>
      <dgm:spPr/>
      <dgm:t>
        <a:bodyPr/>
        <a:lstStyle/>
        <a:p>
          <a:r>
            <a:rPr lang="en-US" dirty="0" smtClean="0"/>
            <a:t>Application Timing</a:t>
          </a:r>
          <a:endParaRPr lang="en-US" dirty="0"/>
        </a:p>
      </dgm:t>
    </dgm:pt>
    <dgm:pt modelId="{4532011D-2361-46E2-A02E-6D61338F6C27}" type="parTrans" cxnId="{CB90D655-1B9C-49EC-A774-53F4BBD77504}">
      <dgm:prSet/>
      <dgm:spPr/>
      <dgm:t>
        <a:bodyPr/>
        <a:lstStyle/>
        <a:p>
          <a:endParaRPr lang="en-US"/>
        </a:p>
      </dgm:t>
    </dgm:pt>
    <dgm:pt modelId="{D0BFBFD3-8B66-4D76-9BFB-40EC9D662356}" type="sibTrans" cxnId="{CB90D655-1B9C-49EC-A774-53F4BBD77504}">
      <dgm:prSet/>
      <dgm:spPr/>
      <dgm:t>
        <a:bodyPr/>
        <a:lstStyle/>
        <a:p>
          <a:endParaRPr lang="en-US"/>
        </a:p>
      </dgm:t>
    </dgm:pt>
    <dgm:pt modelId="{236BE4F3-81F0-4A45-850A-113F136CD8F8}">
      <dgm:prSet phldrT="[Text]"/>
      <dgm:spPr/>
      <dgm:t>
        <a:bodyPr/>
        <a:lstStyle/>
        <a:p>
          <a:r>
            <a:rPr lang="en-US" dirty="0" smtClean="0"/>
            <a:t>Application Rate</a:t>
          </a:r>
          <a:endParaRPr lang="en-US" dirty="0"/>
        </a:p>
      </dgm:t>
    </dgm:pt>
    <dgm:pt modelId="{687077C6-A573-4169-AFEE-E539CD3EB363}" type="parTrans" cxnId="{464376DC-7D31-44E1-8380-E8EDA89C033E}">
      <dgm:prSet/>
      <dgm:spPr/>
      <dgm:t>
        <a:bodyPr/>
        <a:lstStyle/>
        <a:p>
          <a:endParaRPr lang="en-US"/>
        </a:p>
      </dgm:t>
    </dgm:pt>
    <dgm:pt modelId="{F768B871-C217-4B83-8C87-1DF943DA90AE}" type="sibTrans" cxnId="{464376DC-7D31-44E1-8380-E8EDA89C033E}">
      <dgm:prSet/>
      <dgm:spPr/>
      <dgm:t>
        <a:bodyPr/>
        <a:lstStyle/>
        <a:p>
          <a:endParaRPr lang="en-US"/>
        </a:p>
      </dgm:t>
    </dgm:pt>
    <dgm:pt modelId="{B48D71CD-EA37-42AF-8DE4-EB95924E320C}">
      <dgm:prSet phldrT="[Text]"/>
      <dgm:spPr/>
      <dgm:t>
        <a:bodyPr/>
        <a:lstStyle/>
        <a:p>
          <a:r>
            <a:rPr lang="en-US" dirty="0" smtClean="0"/>
            <a:t>Input Form</a:t>
          </a:r>
          <a:endParaRPr lang="en-US" dirty="0"/>
        </a:p>
      </dgm:t>
    </dgm:pt>
    <dgm:pt modelId="{CD7EC3CA-59BA-471D-BE56-98296DEB7C95}" type="parTrans" cxnId="{3686D84A-F320-49DC-95E8-E181E7FE7715}">
      <dgm:prSet/>
      <dgm:spPr/>
      <dgm:t>
        <a:bodyPr/>
        <a:lstStyle/>
        <a:p>
          <a:endParaRPr lang="en-US"/>
        </a:p>
      </dgm:t>
    </dgm:pt>
    <dgm:pt modelId="{95C08E60-D43D-48F6-8ED9-57F214188ABF}" type="sibTrans" cxnId="{3686D84A-F320-49DC-95E8-E181E7FE7715}">
      <dgm:prSet/>
      <dgm:spPr/>
      <dgm:t>
        <a:bodyPr/>
        <a:lstStyle/>
        <a:p>
          <a:endParaRPr lang="en-US" sz="2000"/>
        </a:p>
      </dgm:t>
    </dgm:pt>
    <dgm:pt modelId="{3E6553F9-EB93-4BD2-B857-827BEB672EF1}" type="pres">
      <dgm:prSet presAssocID="{C3697A96-AF43-442D-9FCA-C2B49082A025}" presName="Name0" presStyleCnt="0">
        <dgm:presLayoutVars>
          <dgm:chMax val="1"/>
          <dgm:dir/>
          <dgm:animLvl val="ctr"/>
          <dgm:resizeHandles val="exact"/>
        </dgm:presLayoutVars>
      </dgm:prSet>
      <dgm:spPr/>
      <dgm:t>
        <a:bodyPr/>
        <a:lstStyle/>
        <a:p>
          <a:endParaRPr lang="en-US"/>
        </a:p>
      </dgm:t>
    </dgm:pt>
    <dgm:pt modelId="{6E8D21F7-0FE0-4624-9708-8E88D634BF2D}" type="pres">
      <dgm:prSet presAssocID="{C9D9F858-39C1-42AB-911C-822FED233670}" presName="centerShape" presStyleLbl="node0" presStyleIdx="0" presStyleCnt="1" custScaleX="211247" custScaleY="65664"/>
      <dgm:spPr/>
      <dgm:t>
        <a:bodyPr/>
        <a:lstStyle/>
        <a:p>
          <a:endParaRPr lang="en-US"/>
        </a:p>
      </dgm:t>
    </dgm:pt>
    <dgm:pt modelId="{FF740D9C-BB4A-4A69-A650-C33BF11DC02D}" type="pres">
      <dgm:prSet presAssocID="{3FFE60C6-5493-4DD4-BBE6-B3A4619017CC}" presName="node" presStyleLbl="node1" presStyleIdx="0" presStyleCnt="4" custScaleX="142910">
        <dgm:presLayoutVars>
          <dgm:bulletEnabled val="1"/>
        </dgm:presLayoutVars>
      </dgm:prSet>
      <dgm:spPr/>
      <dgm:t>
        <a:bodyPr/>
        <a:lstStyle/>
        <a:p>
          <a:endParaRPr lang="en-US"/>
        </a:p>
      </dgm:t>
    </dgm:pt>
    <dgm:pt modelId="{3936E49F-3426-4AD1-B8B5-AE3239B05171}" type="pres">
      <dgm:prSet presAssocID="{3FFE60C6-5493-4DD4-BBE6-B3A4619017CC}" presName="dummy" presStyleCnt="0"/>
      <dgm:spPr/>
    </dgm:pt>
    <dgm:pt modelId="{11A38E0B-38D6-4789-8277-9D34D0F92EF0}" type="pres">
      <dgm:prSet presAssocID="{5F44E9E3-E2D9-4E50-9CD4-4EC251A8BF1C}" presName="sibTrans" presStyleLbl="sibTrans2D1" presStyleIdx="0" presStyleCnt="4"/>
      <dgm:spPr/>
      <dgm:t>
        <a:bodyPr/>
        <a:lstStyle/>
        <a:p>
          <a:endParaRPr lang="en-US"/>
        </a:p>
      </dgm:t>
    </dgm:pt>
    <dgm:pt modelId="{8F5137FA-152A-4104-9AB8-ED4CBB4AFC1E}" type="pres">
      <dgm:prSet presAssocID="{EF7FBD8A-C26E-4C85-90A0-A2A4E053BB99}" presName="node" presStyleLbl="node1" presStyleIdx="1" presStyleCnt="4" custRadScaleRad="126180" custRadScaleInc="4036">
        <dgm:presLayoutVars>
          <dgm:bulletEnabled val="1"/>
        </dgm:presLayoutVars>
      </dgm:prSet>
      <dgm:spPr/>
      <dgm:t>
        <a:bodyPr/>
        <a:lstStyle/>
        <a:p>
          <a:endParaRPr lang="en-US"/>
        </a:p>
      </dgm:t>
    </dgm:pt>
    <dgm:pt modelId="{A6847734-9CF1-4AD3-855E-8AD6D6DFF608}" type="pres">
      <dgm:prSet presAssocID="{EF7FBD8A-C26E-4C85-90A0-A2A4E053BB99}" presName="dummy" presStyleCnt="0"/>
      <dgm:spPr/>
    </dgm:pt>
    <dgm:pt modelId="{D750D8F3-B7C9-468B-BF26-35D7E8E952D3}" type="pres">
      <dgm:prSet presAssocID="{D0BFBFD3-8B66-4D76-9BFB-40EC9D662356}" presName="sibTrans" presStyleLbl="sibTrans2D1" presStyleIdx="1" presStyleCnt="4" custScaleX="95999"/>
      <dgm:spPr/>
      <dgm:t>
        <a:bodyPr/>
        <a:lstStyle/>
        <a:p>
          <a:endParaRPr lang="en-US"/>
        </a:p>
      </dgm:t>
    </dgm:pt>
    <dgm:pt modelId="{0A17AF9F-C04E-41A0-AEFF-82D66218B9C8}" type="pres">
      <dgm:prSet presAssocID="{236BE4F3-81F0-4A45-850A-113F136CD8F8}" presName="node" presStyleLbl="node1" presStyleIdx="2" presStyleCnt="4">
        <dgm:presLayoutVars>
          <dgm:bulletEnabled val="1"/>
        </dgm:presLayoutVars>
      </dgm:prSet>
      <dgm:spPr/>
      <dgm:t>
        <a:bodyPr/>
        <a:lstStyle/>
        <a:p>
          <a:endParaRPr lang="en-US"/>
        </a:p>
      </dgm:t>
    </dgm:pt>
    <dgm:pt modelId="{033F80D6-EF96-4D4E-B299-F841D85DAFC9}" type="pres">
      <dgm:prSet presAssocID="{236BE4F3-81F0-4A45-850A-113F136CD8F8}" presName="dummy" presStyleCnt="0"/>
      <dgm:spPr/>
    </dgm:pt>
    <dgm:pt modelId="{CB829480-2B86-443C-8B10-3467EFC8B8A4}" type="pres">
      <dgm:prSet presAssocID="{F768B871-C217-4B83-8C87-1DF943DA90AE}" presName="sibTrans" presStyleLbl="sibTrans2D1" presStyleIdx="2" presStyleCnt="4"/>
      <dgm:spPr/>
      <dgm:t>
        <a:bodyPr/>
        <a:lstStyle/>
        <a:p>
          <a:endParaRPr lang="en-US"/>
        </a:p>
      </dgm:t>
    </dgm:pt>
    <dgm:pt modelId="{A71994AC-2F45-41D0-B3D8-B04A1FEC4434}" type="pres">
      <dgm:prSet presAssocID="{B48D71CD-EA37-42AF-8DE4-EB95924E320C}" presName="node" presStyleLbl="node1" presStyleIdx="3" presStyleCnt="4" custRadScaleRad="131409" custRadScaleInc="-3876">
        <dgm:presLayoutVars>
          <dgm:bulletEnabled val="1"/>
        </dgm:presLayoutVars>
      </dgm:prSet>
      <dgm:spPr/>
      <dgm:t>
        <a:bodyPr/>
        <a:lstStyle/>
        <a:p>
          <a:endParaRPr lang="en-US"/>
        </a:p>
      </dgm:t>
    </dgm:pt>
    <dgm:pt modelId="{B66084F5-7676-4D43-9B80-580E7774462D}" type="pres">
      <dgm:prSet presAssocID="{B48D71CD-EA37-42AF-8DE4-EB95924E320C}" presName="dummy" presStyleCnt="0"/>
      <dgm:spPr/>
    </dgm:pt>
    <dgm:pt modelId="{C78EC8AF-3388-43CC-BC05-5EB25A273C51}" type="pres">
      <dgm:prSet presAssocID="{95C08E60-D43D-48F6-8ED9-57F214188ABF}" presName="sibTrans" presStyleLbl="sibTrans2D1" presStyleIdx="3" presStyleCnt="4"/>
      <dgm:spPr/>
      <dgm:t>
        <a:bodyPr/>
        <a:lstStyle/>
        <a:p>
          <a:endParaRPr lang="en-US"/>
        </a:p>
      </dgm:t>
    </dgm:pt>
  </dgm:ptLst>
  <dgm:cxnLst>
    <dgm:cxn modelId="{A6555867-A9FF-4BA0-971C-8FA9398A67BE}" type="presOf" srcId="{236BE4F3-81F0-4A45-850A-113F136CD8F8}" destId="{0A17AF9F-C04E-41A0-AEFF-82D66218B9C8}" srcOrd="0" destOrd="0" presId="urn:microsoft.com/office/officeart/2005/8/layout/radial6"/>
    <dgm:cxn modelId="{8654E97F-1F31-410F-89A3-E2BE32ED3BFF}" srcId="{C9D9F858-39C1-42AB-911C-822FED233670}" destId="{3FFE60C6-5493-4DD4-BBE6-B3A4619017CC}" srcOrd="0" destOrd="0" parTransId="{7BD36542-20DA-4FBE-8973-C426D00BAC4B}" sibTransId="{5F44E9E3-E2D9-4E50-9CD4-4EC251A8BF1C}"/>
    <dgm:cxn modelId="{188F7C9C-E5B4-45F1-8B62-6EE51A90F58B}" type="presOf" srcId="{EF7FBD8A-C26E-4C85-90A0-A2A4E053BB99}" destId="{8F5137FA-152A-4104-9AB8-ED4CBB4AFC1E}" srcOrd="0" destOrd="0" presId="urn:microsoft.com/office/officeart/2005/8/layout/radial6"/>
    <dgm:cxn modelId="{88982B50-7EFC-4C90-B8C8-33ABB547BE16}" type="presOf" srcId="{3FFE60C6-5493-4DD4-BBE6-B3A4619017CC}" destId="{FF740D9C-BB4A-4A69-A650-C33BF11DC02D}" srcOrd="0" destOrd="0" presId="urn:microsoft.com/office/officeart/2005/8/layout/radial6"/>
    <dgm:cxn modelId="{09C675B0-00D0-4C03-8688-D39B2337C802}" srcId="{C3697A96-AF43-442D-9FCA-C2B49082A025}" destId="{C9D9F858-39C1-42AB-911C-822FED233670}" srcOrd="0" destOrd="0" parTransId="{3938A332-DB37-4F78-92AA-CA9886DEAE7D}" sibTransId="{93FD8214-A213-490D-BC11-486A650D87D9}"/>
    <dgm:cxn modelId="{66C3A9E8-D097-4399-BFF8-63C41B781925}" type="presOf" srcId="{B48D71CD-EA37-42AF-8DE4-EB95924E320C}" destId="{A71994AC-2F45-41D0-B3D8-B04A1FEC4434}" srcOrd="0" destOrd="0" presId="urn:microsoft.com/office/officeart/2005/8/layout/radial6"/>
    <dgm:cxn modelId="{3686D84A-F320-49DC-95E8-E181E7FE7715}" srcId="{C9D9F858-39C1-42AB-911C-822FED233670}" destId="{B48D71CD-EA37-42AF-8DE4-EB95924E320C}" srcOrd="3" destOrd="0" parTransId="{CD7EC3CA-59BA-471D-BE56-98296DEB7C95}" sibTransId="{95C08E60-D43D-48F6-8ED9-57F214188ABF}"/>
    <dgm:cxn modelId="{DFFBFC20-484A-4E07-8643-6331858A37FA}" type="presOf" srcId="{C9D9F858-39C1-42AB-911C-822FED233670}" destId="{6E8D21F7-0FE0-4624-9708-8E88D634BF2D}" srcOrd="0" destOrd="0" presId="urn:microsoft.com/office/officeart/2005/8/layout/radial6"/>
    <dgm:cxn modelId="{09EC0798-9D7C-4BA7-A2FB-924BE778B8B9}" type="presOf" srcId="{D0BFBFD3-8B66-4D76-9BFB-40EC9D662356}" destId="{D750D8F3-B7C9-468B-BF26-35D7E8E952D3}" srcOrd="0" destOrd="0" presId="urn:microsoft.com/office/officeart/2005/8/layout/radial6"/>
    <dgm:cxn modelId="{DACADCFE-8DF3-42DB-8DCD-23F71293C4AF}" type="presOf" srcId="{5F44E9E3-E2D9-4E50-9CD4-4EC251A8BF1C}" destId="{11A38E0B-38D6-4789-8277-9D34D0F92EF0}" srcOrd="0" destOrd="0" presId="urn:microsoft.com/office/officeart/2005/8/layout/radial6"/>
    <dgm:cxn modelId="{2A059EB9-46CC-4D02-B7D0-DBFE7AF25484}" type="presOf" srcId="{C3697A96-AF43-442D-9FCA-C2B49082A025}" destId="{3E6553F9-EB93-4BD2-B857-827BEB672EF1}" srcOrd="0" destOrd="0" presId="urn:microsoft.com/office/officeart/2005/8/layout/radial6"/>
    <dgm:cxn modelId="{3664CFD4-595C-43E0-B848-A867B2ED3A13}" type="presOf" srcId="{F768B871-C217-4B83-8C87-1DF943DA90AE}" destId="{CB829480-2B86-443C-8B10-3467EFC8B8A4}" srcOrd="0" destOrd="0" presId="urn:microsoft.com/office/officeart/2005/8/layout/radial6"/>
    <dgm:cxn modelId="{CB90D655-1B9C-49EC-A774-53F4BBD77504}" srcId="{C9D9F858-39C1-42AB-911C-822FED233670}" destId="{EF7FBD8A-C26E-4C85-90A0-A2A4E053BB99}" srcOrd="1" destOrd="0" parTransId="{4532011D-2361-46E2-A02E-6D61338F6C27}" sibTransId="{D0BFBFD3-8B66-4D76-9BFB-40EC9D662356}"/>
    <dgm:cxn modelId="{464376DC-7D31-44E1-8380-E8EDA89C033E}" srcId="{C9D9F858-39C1-42AB-911C-822FED233670}" destId="{236BE4F3-81F0-4A45-850A-113F136CD8F8}" srcOrd="2" destOrd="0" parTransId="{687077C6-A573-4169-AFEE-E539CD3EB363}" sibTransId="{F768B871-C217-4B83-8C87-1DF943DA90AE}"/>
    <dgm:cxn modelId="{AB5D24E7-EA1E-4462-9398-DD7F3B81965D}" type="presOf" srcId="{95C08E60-D43D-48F6-8ED9-57F214188ABF}" destId="{C78EC8AF-3388-43CC-BC05-5EB25A273C51}" srcOrd="0" destOrd="0" presId="urn:microsoft.com/office/officeart/2005/8/layout/radial6"/>
    <dgm:cxn modelId="{AE53D73A-ECDB-489E-B3EC-F25C1AA8A7D2}" type="presParOf" srcId="{3E6553F9-EB93-4BD2-B857-827BEB672EF1}" destId="{6E8D21F7-0FE0-4624-9708-8E88D634BF2D}" srcOrd="0" destOrd="0" presId="urn:microsoft.com/office/officeart/2005/8/layout/radial6"/>
    <dgm:cxn modelId="{237636F6-23C2-48FF-8AEC-637C18D884F1}" type="presParOf" srcId="{3E6553F9-EB93-4BD2-B857-827BEB672EF1}" destId="{FF740D9C-BB4A-4A69-A650-C33BF11DC02D}" srcOrd="1" destOrd="0" presId="urn:microsoft.com/office/officeart/2005/8/layout/radial6"/>
    <dgm:cxn modelId="{5BAF5F81-3C10-4C17-82FE-07950B3B2B17}" type="presParOf" srcId="{3E6553F9-EB93-4BD2-B857-827BEB672EF1}" destId="{3936E49F-3426-4AD1-B8B5-AE3239B05171}" srcOrd="2" destOrd="0" presId="urn:microsoft.com/office/officeart/2005/8/layout/radial6"/>
    <dgm:cxn modelId="{4B5C81D2-3690-47EA-B3A9-051C007E6117}" type="presParOf" srcId="{3E6553F9-EB93-4BD2-B857-827BEB672EF1}" destId="{11A38E0B-38D6-4789-8277-9D34D0F92EF0}" srcOrd="3" destOrd="0" presId="urn:microsoft.com/office/officeart/2005/8/layout/radial6"/>
    <dgm:cxn modelId="{F2AA7827-D8D5-460C-8DAA-EC4655ABD711}" type="presParOf" srcId="{3E6553F9-EB93-4BD2-B857-827BEB672EF1}" destId="{8F5137FA-152A-4104-9AB8-ED4CBB4AFC1E}" srcOrd="4" destOrd="0" presId="urn:microsoft.com/office/officeart/2005/8/layout/radial6"/>
    <dgm:cxn modelId="{B3078D0D-1597-4337-AA1C-F20AAA02DE73}" type="presParOf" srcId="{3E6553F9-EB93-4BD2-B857-827BEB672EF1}" destId="{A6847734-9CF1-4AD3-855E-8AD6D6DFF608}" srcOrd="5" destOrd="0" presId="urn:microsoft.com/office/officeart/2005/8/layout/radial6"/>
    <dgm:cxn modelId="{46D41B60-E5AB-4A72-BE8C-31C7BAE27BFB}" type="presParOf" srcId="{3E6553F9-EB93-4BD2-B857-827BEB672EF1}" destId="{D750D8F3-B7C9-468B-BF26-35D7E8E952D3}" srcOrd="6" destOrd="0" presId="urn:microsoft.com/office/officeart/2005/8/layout/radial6"/>
    <dgm:cxn modelId="{8920001A-C00F-4C41-866B-30A7BBA52B9B}" type="presParOf" srcId="{3E6553F9-EB93-4BD2-B857-827BEB672EF1}" destId="{0A17AF9F-C04E-41A0-AEFF-82D66218B9C8}" srcOrd="7" destOrd="0" presId="urn:microsoft.com/office/officeart/2005/8/layout/radial6"/>
    <dgm:cxn modelId="{7B6EA6A5-2B16-4353-A3FC-22335B6DDD8A}" type="presParOf" srcId="{3E6553F9-EB93-4BD2-B857-827BEB672EF1}" destId="{033F80D6-EF96-4D4E-B299-F841D85DAFC9}" srcOrd="8" destOrd="0" presId="urn:microsoft.com/office/officeart/2005/8/layout/radial6"/>
    <dgm:cxn modelId="{63636FA7-21D7-4559-B030-1A278E449BE4}" type="presParOf" srcId="{3E6553F9-EB93-4BD2-B857-827BEB672EF1}" destId="{CB829480-2B86-443C-8B10-3467EFC8B8A4}" srcOrd="9" destOrd="0" presId="urn:microsoft.com/office/officeart/2005/8/layout/radial6"/>
    <dgm:cxn modelId="{5E4F48D5-74ED-461B-B9F6-A8F9365B66E0}" type="presParOf" srcId="{3E6553F9-EB93-4BD2-B857-827BEB672EF1}" destId="{A71994AC-2F45-41D0-B3D8-B04A1FEC4434}" srcOrd="10" destOrd="0" presId="urn:microsoft.com/office/officeart/2005/8/layout/radial6"/>
    <dgm:cxn modelId="{D80AC967-8D2B-4E57-9656-9884E90C3206}" type="presParOf" srcId="{3E6553F9-EB93-4BD2-B857-827BEB672EF1}" destId="{B66084F5-7676-4D43-9B80-580E7774462D}" srcOrd="11" destOrd="0" presId="urn:microsoft.com/office/officeart/2005/8/layout/radial6"/>
    <dgm:cxn modelId="{42B6A808-D23C-4B3F-B3A1-1916437D0A63}" type="presParOf" srcId="{3E6553F9-EB93-4BD2-B857-827BEB672EF1}" destId="{C78EC8AF-3388-43CC-BC05-5EB25A273C51}" srcOrd="12" destOrd="0" presId="urn:microsoft.com/office/officeart/2005/8/layout/radial6"/>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818727" y="393975"/>
          <a:ext cx="3274750" cy="3274750"/>
        </a:xfrm>
        <a:prstGeom prst="blockArc">
          <a:avLst>
            <a:gd name="adj1" fmla="val 10570214"/>
            <a:gd name="adj2" fmla="val 17390879"/>
            <a:gd name="adj3" fmla="val 4634"/>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820160" y="583482"/>
          <a:ext cx="3274750" cy="3274750"/>
        </a:xfrm>
        <a:prstGeom prst="blockArc">
          <a:avLst>
            <a:gd name="adj1" fmla="val 4212396"/>
            <a:gd name="adj2" fmla="val 10977780"/>
            <a:gd name="adj3" fmla="val 4634"/>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1903394" y="583482"/>
          <a:ext cx="3274750" cy="3274750"/>
        </a:xfrm>
        <a:prstGeom prst="blockArc">
          <a:avLst>
            <a:gd name="adj1" fmla="val 21422208"/>
            <a:gd name="adj2" fmla="val 6587604"/>
            <a:gd name="adj3" fmla="val 4634"/>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1904827" y="393976"/>
          <a:ext cx="3274750" cy="3274750"/>
        </a:xfrm>
        <a:prstGeom prst="blockArc">
          <a:avLst>
            <a:gd name="adj1" fmla="val 15009122"/>
            <a:gd name="adj2" fmla="val 229774"/>
            <a:gd name="adj3" fmla="val 4634"/>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1787421" y="1632098"/>
          <a:ext cx="2423463" cy="988528"/>
        </a:xfrm>
        <a:prstGeom prst="ellipse">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Agronomic</a:t>
          </a:r>
        </a:p>
        <a:p>
          <a:pPr lvl="0" algn="ctr" defTabSz="800100">
            <a:lnSpc>
              <a:spcPct val="90000"/>
            </a:lnSpc>
            <a:spcBef>
              <a:spcPct val="0"/>
            </a:spcBef>
            <a:spcAft>
              <a:spcPct val="35000"/>
            </a:spcAft>
          </a:pPr>
          <a:r>
            <a:rPr lang="en-US" sz="1800" kern="1200" dirty="0" smtClean="0"/>
            <a:t>Fundamentals</a:t>
          </a:r>
          <a:endParaRPr lang="en-US" sz="1800" kern="1200" dirty="0"/>
        </a:p>
      </dsp:txBody>
      <dsp:txXfrm>
        <a:off x="2142329" y="1776865"/>
        <a:ext cx="1713647" cy="698994"/>
      </dsp:txXfrm>
    </dsp:sp>
    <dsp:sp modelId="{FF740D9C-BB4A-4A69-A650-C33BF11DC02D}">
      <dsp:nvSpPr>
        <dsp:cNvPr id="0" name=""/>
        <dsp:cNvSpPr/>
      </dsp:nvSpPr>
      <dsp:spPr>
        <a:xfrm>
          <a:off x="2133115" y="22"/>
          <a:ext cx="1732074" cy="1053803"/>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20320" rIns="0" bIns="2032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bg1"/>
              </a:solidFill>
            </a:rPr>
            <a:t>Input</a:t>
          </a:r>
        </a:p>
        <a:p>
          <a:pPr lvl="0" algn="ctr" defTabSz="711200">
            <a:lnSpc>
              <a:spcPct val="90000"/>
            </a:lnSpc>
            <a:spcBef>
              <a:spcPct val="0"/>
            </a:spcBef>
            <a:spcAft>
              <a:spcPct val="35000"/>
            </a:spcAft>
          </a:pPr>
          <a:r>
            <a:rPr lang="en-US" sz="1600" kern="1200" dirty="0" smtClean="0">
              <a:solidFill>
                <a:schemeClr val="bg1"/>
              </a:solidFill>
            </a:rPr>
            <a:t>Placement</a:t>
          </a:r>
          <a:endParaRPr lang="en-US" sz="1600" kern="1200" dirty="0">
            <a:solidFill>
              <a:schemeClr val="bg1"/>
            </a:solidFill>
          </a:endParaRPr>
        </a:p>
      </dsp:txBody>
      <dsp:txXfrm>
        <a:off x="2386771" y="154348"/>
        <a:ext cx="1224762" cy="745151"/>
      </dsp:txXfrm>
    </dsp:sp>
    <dsp:sp modelId="{8F5137FA-152A-4104-9AB8-ED4CBB4AFC1E}">
      <dsp:nvSpPr>
        <dsp:cNvPr id="0" name=""/>
        <dsp:cNvSpPr/>
      </dsp:nvSpPr>
      <dsp:spPr>
        <a:xfrm>
          <a:off x="4277834" y="1611274"/>
          <a:ext cx="1720471" cy="1053803"/>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20320" rIns="0" bIns="20320" numCol="1" spcCol="1270" anchor="ctr" anchorCtr="0">
          <a:noAutofit/>
        </a:bodyPr>
        <a:lstStyle/>
        <a:p>
          <a:pPr lvl="0" algn="ctr" defTabSz="711200">
            <a:lnSpc>
              <a:spcPct val="90000"/>
            </a:lnSpc>
            <a:spcBef>
              <a:spcPct val="0"/>
            </a:spcBef>
            <a:spcAft>
              <a:spcPct val="35000"/>
            </a:spcAft>
          </a:pPr>
          <a:r>
            <a:rPr lang="en-US" sz="1600" kern="1200" dirty="0" smtClean="0"/>
            <a:t>Application </a:t>
          </a:r>
        </a:p>
        <a:p>
          <a:pPr lvl="0" algn="ctr" defTabSz="711200">
            <a:lnSpc>
              <a:spcPct val="90000"/>
            </a:lnSpc>
            <a:spcBef>
              <a:spcPct val="0"/>
            </a:spcBef>
            <a:spcAft>
              <a:spcPct val="35000"/>
            </a:spcAft>
          </a:pPr>
          <a:r>
            <a:rPr lang="en-US" sz="1600" kern="1200" dirty="0" smtClean="0"/>
            <a:t>Timing</a:t>
          </a:r>
          <a:endParaRPr lang="en-US" sz="1600" kern="1200" dirty="0"/>
        </a:p>
      </dsp:txBody>
      <dsp:txXfrm>
        <a:off x="4529791" y="1765600"/>
        <a:ext cx="1216557" cy="745151"/>
      </dsp:txXfrm>
    </dsp:sp>
    <dsp:sp modelId="{0A17AF9F-C04E-41A0-AEFF-82D66218B9C8}">
      <dsp:nvSpPr>
        <dsp:cNvPr id="0" name=""/>
        <dsp:cNvSpPr/>
      </dsp:nvSpPr>
      <dsp:spPr>
        <a:xfrm>
          <a:off x="2138917" y="3198899"/>
          <a:ext cx="1720471" cy="1053803"/>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20320" rIns="0" bIns="20320" numCol="1" spcCol="1270" anchor="ctr" anchorCtr="0">
          <a:noAutofit/>
        </a:bodyPr>
        <a:lstStyle/>
        <a:p>
          <a:pPr lvl="0" algn="ctr" defTabSz="711200">
            <a:lnSpc>
              <a:spcPct val="90000"/>
            </a:lnSpc>
            <a:spcBef>
              <a:spcPct val="0"/>
            </a:spcBef>
            <a:spcAft>
              <a:spcPct val="35000"/>
            </a:spcAft>
          </a:pPr>
          <a:r>
            <a:rPr lang="en-US" sz="1600" kern="1200" dirty="0" smtClean="0"/>
            <a:t>Application </a:t>
          </a:r>
        </a:p>
        <a:p>
          <a:pPr lvl="0" algn="ctr" defTabSz="711200">
            <a:lnSpc>
              <a:spcPct val="90000"/>
            </a:lnSpc>
            <a:spcBef>
              <a:spcPct val="0"/>
            </a:spcBef>
            <a:spcAft>
              <a:spcPct val="35000"/>
            </a:spcAft>
          </a:pPr>
          <a:r>
            <a:rPr lang="en-US" sz="1600" kern="1200" dirty="0" smtClean="0"/>
            <a:t>Rate</a:t>
          </a:r>
          <a:endParaRPr lang="en-US" sz="1600" kern="1200" dirty="0"/>
        </a:p>
      </dsp:txBody>
      <dsp:txXfrm>
        <a:off x="2390874" y="3353225"/>
        <a:ext cx="1216557" cy="745151"/>
      </dsp:txXfrm>
    </dsp:sp>
    <dsp:sp modelId="{A71994AC-2F45-41D0-B3D8-B04A1FEC4434}">
      <dsp:nvSpPr>
        <dsp:cNvPr id="0" name=""/>
        <dsp:cNvSpPr/>
      </dsp:nvSpPr>
      <dsp:spPr>
        <a:xfrm>
          <a:off x="0" y="1611279"/>
          <a:ext cx="1720471" cy="1053803"/>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20320" rIns="0" bIns="20320" numCol="1" spcCol="1270" anchor="ctr" anchorCtr="0">
          <a:noAutofit/>
        </a:bodyPr>
        <a:lstStyle/>
        <a:p>
          <a:pPr lvl="0" algn="ctr" defTabSz="711200">
            <a:lnSpc>
              <a:spcPct val="90000"/>
            </a:lnSpc>
            <a:spcBef>
              <a:spcPct val="0"/>
            </a:spcBef>
            <a:spcAft>
              <a:spcPct val="35000"/>
            </a:spcAft>
          </a:pPr>
          <a:r>
            <a:rPr lang="en-US" sz="1600" kern="1200" dirty="0" smtClean="0"/>
            <a:t>Input </a:t>
          </a:r>
        </a:p>
        <a:p>
          <a:pPr lvl="0" algn="ctr" defTabSz="711200">
            <a:lnSpc>
              <a:spcPct val="90000"/>
            </a:lnSpc>
            <a:spcBef>
              <a:spcPct val="0"/>
            </a:spcBef>
            <a:spcAft>
              <a:spcPct val="35000"/>
            </a:spcAft>
          </a:pPr>
          <a:r>
            <a:rPr lang="en-US" sz="1600" kern="1200" dirty="0" smtClean="0"/>
            <a:t>Form</a:t>
          </a:r>
          <a:endParaRPr lang="en-US" sz="1600" kern="1200" dirty="0"/>
        </a:p>
      </dsp:txBody>
      <dsp:txXfrm>
        <a:off x="251957" y="1765605"/>
        <a:ext cx="1216557" cy="7451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721356" y="320964"/>
          <a:ext cx="2137066" cy="2137066"/>
        </a:xfrm>
        <a:prstGeom prst="blockArc">
          <a:avLst>
            <a:gd name="adj1" fmla="val 10800000"/>
            <a:gd name="adj2" fmla="val 162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721356" y="320964"/>
          <a:ext cx="2137066" cy="2137066"/>
        </a:xfrm>
        <a:prstGeom prst="blockArc">
          <a:avLst>
            <a:gd name="adj1" fmla="val 5400000"/>
            <a:gd name="adj2" fmla="val 108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721356" y="320964"/>
          <a:ext cx="2137066" cy="2137066"/>
        </a:xfrm>
        <a:prstGeom prst="blockArc">
          <a:avLst>
            <a:gd name="adj1" fmla="val 0"/>
            <a:gd name="adj2" fmla="val 54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721356" y="320964"/>
          <a:ext cx="2137066" cy="2137066"/>
        </a:xfrm>
        <a:prstGeom prst="blockArc">
          <a:avLst>
            <a:gd name="adj1" fmla="val 16200000"/>
            <a:gd name="adj2" fmla="val 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1196498" y="1066401"/>
          <a:ext cx="1186782" cy="646192"/>
        </a:xfrm>
        <a:prstGeom prst="ellipse">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Agronomic</a:t>
          </a:r>
        </a:p>
        <a:p>
          <a:pPr lvl="0" algn="ctr" defTabSz="355600">
            <a:lnSpc>
              <a:spcPct val="90000"/>
            </a:lnSpc>
            <a:spcBef>
              <a:spcPct val="0"/>
            </a:spcBef>
            <a:spcAft>
              <a:spcPct val="35000"/>
            </a:spcAft>
          </a:pPr>
          <a:r>
            <a:rPr lang="en-US" sz="800" kern="1200" dirty="0" smtClean="0"/>
            <a:t>Fundamentals</a:t>
          </a:r>
          <a:endParaRPr lang="en-US" sz="800" kern="1200" dirty="0"/>
        </a:p>
      </dsp:txBody>
      <dsp:txXfrm>
        <a:off x="1370298" y="1161034"/>
        <a:ext cx="839182" cy="456926"/>
      </dsp:txXfrm>
    </dsp:sp>
    <dsp:sp modelId="{FF740D9C-BB4A-4A69-A650-C33BF11DC02D}">
      <dsp:nvSpPr>
        <dsp:cNvPr id="0" name=""/>
        <dsp:cNvSpPr/>
      </dsp:nvSpPr>
      <dsp:spPr>
        <a:xfrm>
          <a:off x="1297662" y="1332"/>
          <a:ext cx="984453"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solidFill>
                <a:schemeClr val="bg1"/>
              </a:solidFill>
            </a:rPr>
            <a:t>Input Placement</a:t>
          </a:r>
          <a:endParaRPr lang="en-US" sz="600" kern="1200" dirty="0">
            <a:solidFill>
              <a:schemeClr val="bg1"/>
            </a:solidFill>
          </a:endParaRPr>
        </a:p>
      </dsp:txBody>
      <dsp:txXfrm>
        <a:off x="1441832" y="102214"/>
        <a:ext cx="696113" cy="487098"/>
      </dsp:txXfrm>
    </dsp:sp>
    <dsp:sp modelId="{8F5137FA-152A-4104-9AB8-ED4CBB4AFC1E}">
      <dsp:nvSpPr>
        <dsp:cNvPr id="0" name=""/>
        <dsp:cNvSpPr/>
      </dsp:nvSpPr>
      <dsp:spPr>
        <a:xfrm>
          <a:off x="2489192" y="1045066"/>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Timing</a:t>
          </a:r>
          <a:endParaRPr lang="en-US" sz="600" kern="1200" dirty="0"/>
        </a:p>
      </dsp:txBody>
      <dsp:txXfrm>
        <a:off x="2590074" y="1145948"/>
        <a:ext cx="487098" cy="487098"/>
      </dsp:txXfrm>
    </dsp:sp>
    <dsp:sp modelId="{0A17AF9F-C04E-41A0-AEFF-82D66218B9C8}">
      <dsp:nvSpPr>
        <dsp:cNvPr id="0" name=""/>
        <dsp:cNvSpPr/>
      </dsp:nvSpPr>
      <dsp:spPr>
        <a:xfrm>
          <a:off x="1026123" y="2088800"/>
          <a:ext cx="1527532" cy="688862"/>
        </a:xfrm>
        <a:prstGeom prst="ellipse">
          <a:avLst/>
        </a:prstGeom>
        <a:solidFill>
          <a:schemeClr val="accent2"/>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Application Rate</a:t>
          </a:r>
          <a:endParaRPr lang="en-US" sz="1400" kern="1200" dirty="0">
            <a:solidFill>
              <a:schemeClr val="tx1"/>
            </a:solidFill>
          </a:endParaRPr>
        </a:p>
      </dsp:txBody>
      <dsp:txXfrm>
        <a:off x="1249825" y="2189682"/>
        <a:ext cx="1080128" cy="487098"/>
      </dsp:txXfrm>
    </dsp:sp>
    <dsp:sp modelId="{A71994AC-2F45-41D0-B3D8-B04A1FEC4434}">
      <dsp:nvSpPr>
        <dsp:cNvPr id="0" name=""/>
        <dsp:cNvSpPr/>
      </dsp:nvSpPr>
      <dsp:spPr>
        <a:xfrm>
          <a:off x="401724" y="1045066"/>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Input Form</a:t>
          </a:r>
          <a:endParaRPr lang="en-US" sz="600" kern="1200" dirty="0"/>
        </a:p>
      </dsp:txBody>
      <dsp:txXfrm>
        <a:off x="502606" y="1145948"/>
        <a:ext cx="487098" cy="4870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721356" y="320964"/>
          <a:ext cx="2137066" cy="2137066"/>
        </a:xfrm>
        <a:prstGeom prst="blockArc">
          <a:avLst>
            <a:gd name="adj1" fmla="val 10800000"/>
            <a:gd name="adj2" fmla="val 162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721356" y="320964"/>
          <a:ext cx="2137066" cy="2137066"/>
        </a:xfrm>
        <a:prstGeom prst="blockArc">
          <a:avLst>
            <a:gd name="adj1" fmla="val 5400000"/>
            <a:gd name="adj2" fmla="val 108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721356" y="320964"/>
          <a:ext cx="2137066" cy="2137066"/>
        </a:xfrm>
        <a:prstGeom prst="blockArc">
          <a:avLst>
            <a:gd name="adj1" fmla="val 0"/>
            <a:gd name="adj2" fmla="val 54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721356" y="320964"/>
          <a:ext cx="2137066" cy="2137066"/>
        </a:xfrm>
        <a:prstGeom prst="blockArc">
          <a:avLst>
            <a:gd name="adj1" fmla="val 16200000"/>
            <a:gd name="adj2" fmla="val 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1196498" y="1066401"/>
          <a:ext cx="1186782" cy="646192"/>
        </a:xfrm>
        <a:prstGeom prst="ellipse">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Agronomic</a:t>
          </a:r>
        </a:p>
        <a:p>
          <a:pPr lvl="0" algn="ctr" defTabSz="355600">
            <a:lnSpc>
              <a:spcPct val="90000"/>
            </a:lnSpc>
            <a:spcBef>
              <a:spcPct val="0"/>
            </a:spcBef>
            <a:spcAft>
              <a:spcPct val="35000"/>
            </a:spcAft>
          </a:pPr>
          <a:r>
            <a:rPr lang="en-US" sz="800" kern="1200" dirty="0" smtClean="0"/>
            <a:t>Fundamentals</a:t>
          </a:r>
          <a:endParaRPr lang="en-US" sz="800" kern="1200" dirty="0"/>
        </a:p>
      </dsp:txBody>
      <dsp:txXfrm>
        <a:off x="1370298" y="1161034"/>
        <a:ext cx="839182" cy="456926"/>
      </dsp:txXfrm>
    </dsp:sp>
    <dsp:sp modelId="{FF740D9C-BB4A-4A69-A650-C33BF11DC02D}">
      <dsp:nvSpPr>
        <dsp:cNvPr id="0" name=""/>
        <dsp:cNvSpPr/>
      </dsp:nvSpPr>
      <dsp:spPr>
        <a:xfrm>
          <a:off x="1105301" y="1332"/>
          <a:ext cx="1369176" cy="688862"/>
        </a:xfrm>
        <a:prstGeom prst="ellipse">
          <a:avLst/>
        </a:prstGeom>
        <a:solidFill>
          <a:schemeClr val="accent2"/>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Input Placement</a:t>
          </a:r>
          <a:endParaRPr lang="en-US" sz="1400" kern="1200" dirty="0">
            <a:solidFill>
              <a:schemeClr val="tx1"/>
            </a:solidFill>
          </a:endParaRPr>
        </a:p>
      </dsp:txBody>
      <dsp:txXfrm>
        <a:off x="1305812" y="102214"/>
        <a:ext cx="968154" cy="487098"/>
      </dsp:txXfrm>
    </dsp:sp>
    <dsp:sp modelId="{8F5137FA-152A-4104-9AB8-ED4CBB4AFC1E}">
      <dsp:nvSpPr>
        <dsp:cNvPr id="0" name=""/>
        <dsp:cNvSpPr/>
      </dsp:nvSpPr>
      <dsp:spPr>
        <a:xfrm>
          <a:off x="2489192" y="1045066"/>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Timing</a:t>
          </a:r>
          <a:endParaRPr lang="en-US" sz="600" kern="1200" dirty="0"/>
        </a:p>
      </dsp:txBody>
      <dsp:txXfrm>
        <a:off x="2590074" y="1145948"/>
        <a:ext cx="487098" cy="487098"/>
      </dsp:txXfrm>
    </dsp:sp>
    <dsp:sp modelId="{0A17AF9F-C04E-41A0-AEFF-82D66218B9C8}">
      <dsp:nvSpPr>
        <dsp:cNvPr id="0" name=""/>
        <dsp:cNvSpPr/>
      </dsp:nvSpPr>
      <dsp:spPr>
        <a:xfrm>
          <a:off x="1445458" y="2088800"/>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Rate</a:t>
          </a:r>
          <a:endParaRPr lang="en-US" sz="600" kern="1200" dirty="0"/>
        </a:p>
      </dsp:txBody>
      <dsp:txXfrm>
        <a:off x="1546340" y="2189682"/>
        <a:ext cx="487098" cy="487098"/>
      </dsp:txXfrm>
    </dsp:sp>
    <dsp:sp modelId="{A71994AC-2F45-41D0-B3D8-B04A1FEC4434}">
      <dsp:nvSpPr>
        <dsp:cNvPr id="0" name=""/>
        <dsp:cNvSpPr/>
      </dsp:nvSpPr>
      <dsp:spPr>
        <a:xfrm>
          <a:off x="401724" y="1045066"/>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Input Form</a:t>
          </a:r>
          <a:endParaRPr lang="en-US" sz="600" kern="1200" dirty="0"/>
        </a:p>
      </dsp:txBody>
      <dsp:txXfrm>
        <a:off x="502606" y="1145948"/>
        <a:ext cx="487098" cy="4870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488903" y="320964"/>
          <a:ext cx="2137066" cy="2137066"/>
        </a:xfrm>
        <a:prstGeom prst="blockArc">
          <a:avLst>
            <a:gd name="adj1" fmla="val 10800000"/>
            <a:gd name="adj2" fmla="val 162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488903" y="320964"/>
          <a:ext cx="2137066" cy="2137066"/>
        </a:xfrm>
        <a:prstGeom prst="blockArc">
          <a:avLst>
            <a:gd name="adj1" fmla="val 5400000"/>
            <a:gd name="adj2" fmla="val 108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488903" y="320964"/>
          <a:ext cx="2137066" cy="2137066"/>
        </a:xfrm>
        <a:prstGeom prst="blockArc">
          <a:avLst>
            <a:gd name="adj1" fmla="val 0"/>
            <a:gd name="adj2" fmla="val 54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488903" y="320964"/>
          <a:ext cx="2137066" cy="2137066"/>
        </a:xfrm>
        <a:prstGeom prst="blockArc">
          <a:avLst>
            <a:gd name="adj1" fmla="val 16200000"/>
            <a:gd name="adj2" fmla="val 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964044" y="1066401"/>
          <a:ext cx="1186782" cy="646192"/>
        </a:xfrm>
        <a:prstGeom prst="ellipse">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Agronomic</a:t>
          </a:r>
        </a:p>
        <a:p>
          <a:pPr lvl="0" algn="ctr" defTabSz="355600">
            <a:lnSpc>
              <a:spcPct val="90000"/>
            </a:lnSpc>
            <a:spcBef>
              <a:spcPct val="0"/>
            </a:spcBef>
            <a:spcAft>
              <a:spcPct val="35000"/>
            </a:spcAft>
          </a:pPr>
          <a:r>
            <a:rPr lang="en-US" sz="800" kern="1200" dirty="0" smtClean="0"/>
            <a:t>Fundamentals</a:t>
          </a:r>
          <a:endParaRPr lang="en-US" sz="800" kern="1200" dirty="0"/>
        </a:p>
      </dsp:txBody>
      <dsp:txXfrm>
        <a:off x="1137844" y="1161034"/>
        <a:ext cx="839182" cy="456926"/>
      </dsp:txXfrm>
    </dsp:sp>
    <dsp:sp modelId="{FF740D9C-BB4A-4A69-A650-C33BF11DC02D}">
      <dsp:nvSpPr>
        <dsp:cNvPr id="0" name=""/>
        <dsp:cNvSpPr/>
      </dsp:nvSpPr>
      <dsp:spPr>
        <a:xfrm>
          <a:off x="1065209" y="1332"/>
          <a:ext cx="984453"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solidFill>
                <a:schemeClr val="bg1"/>
              </a:solidFill>
            </a:rPr>
            <a:t>Input Placement</a:t>
          </a:r>
          <a:endParaRPr lang="en-US" sz="600" kern="1200" dirty="0">
            <a:solidFill>
              <a:schemeClr val="bg1"/>
            </a:solidFill>
          </a:endParaRPr>
        </a:p>
      </dsp:txBody>
      <dsp:txXfrm>
        <a:off x="1209379" y="102214"/>
        <a:ext cx="696113" cy="487098"/>
      </dsp:txXfrm>
    </dsp:sp>
    <dsp:sp modelId="{8F5137FA-152A-4104-9AB8-ED4CBB4AFC1E}">
      <dsp:nvSpPr>
        <dsp:cNvPr id="0" name=""/>
        <dsp:cNvSpPr/>
      </dsp:nvSpPr>
      <dsp:spPr>
        <a:xfrm>
          <a:off x="1791832" y="1045066"/>
          <a:ext cx="1618675" cy="688862"/>
        </a:xfrm>
        <a:prstGeom prst="ellipse">
          <a:avLst/>
        </a:prstGeom>
        <a:solidFill>
          <a:schemeClr val="accent2"/>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Application Timing</a:t>
          </a:r>
          <a:endParaRPr lang="en-US" sz="1400" kern="1200" dirty="0">
            <a:solidFill>
              <a:schemeClr val="tx1"/>
            </a:solidFill>
          </a:endParaRPr>
        </a:p>
      </dsp:txBody>
      <dsp:txXfrm>
        <a:off x="2028881" y="1145948"/>
        <a:ext cx="1144577" cy="487098"/>
      </dsp:txXfrm>
    </dsp:sp>
    <dsp:sp modelId="{0A17AF9F-C04E-41A0-AEFF-82D66218B9C8}">
      <dsp:nvSpPr>
        <dsp:cNvPr id="0" name=""/>
        <dsp:cNvSpPr/>
      </dsp:nvSpPr>
      <dsp:spPr>
        <a:xfrm>
          <a:off x="1213004" y="2088800"/>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Rate</a:t>
          </a:r>
          <a:endParaRPr lang="en-US" sz="600" kern="1200" dirty="0"/>
        </a:p>
      </dsp:txBody>
      <dsp:txXfrm>
        <a:off x="1313886" y="2189682"/>
        <a:ext cx="487098" cy="487098"/>
      </dsp:txXfrm>
    </dsp:sp>
    <dsp:sp modelId="{A71994AC-2F45-41D0-B3D8-B04A1FEC4434}">
      <dsp:nvSpPr>
        <dsp:cNvPr id="0" name=""/>
        <dsp:cNvSpPr/>
      </dsp:nvSpPr>
      <dsp:spPr>
        <a:xfrm>
          <a:off x="169270" y="1045066"/>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Input Form</a:t>
          </a:r>
          <a:endParaRPr lang="en-US" sz="600" kern="1200" dirty="0"/>
        </a:p>
      </dsp:txBody>
      <dsp:txXfrm>
        <a:off x="270152" y="1145948"/>
        <a:ext cx="487098" cy="4870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790449" y="320964"/>
          <a:ext cx="2137066" cy="2137066"/>
        </a:xfrm>
        <a:prstGeom prst="blockArc">
          <a:avLst>
            <a:gd name="adj1" fmla="val 10800000"/>
            <a:gd name="adj2" fmla="val 162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790449" y="320964"/>
          <a:ext cx="2137066" cy="2137066"/>
        </a:xfrm>
        <a:prstGeom prst="blockArc">
          <a:avLst>
            <a:gd name="adj1" fmla="val 5400000"/>
            <a:gd name="adj2" fmla="val 108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790449" y="320964"/>
          <a:ext cx="2137066" cy="2137066"/>
        </a:xfrm>
        <a:prstGeom prst="blockArc">
          <a:avLst>
            <a:gd name="adj1" fmla="val 0"/>
            <a:gd name="adj2" fmla="val 540000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790449" y="320964"/>
          <a:ext cx="2137066" cy="2137066"/>
        </a:xfrm>
        <a:prstGeom prst="blockArc">
          <a:avLst>
            <a:gd name="adj1" fmla="val 16200000"/>
            <a:gd name="adj2" fmla="val 0"/>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1265591" y="1066401"/>
          <a:ext cx="1186782" cy="646192"/>
        </a:xfrm>
        <a:prstGeom prst="ellipse">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t>Agronomic</a:t>
          </a:r>
        </a:p>
        <a:p>
          <a:pPr lvl="0" algn="ctr" defTabSz="355600">
            <a:lnSpc>
              <a:spcPct val="90000"/>
            </a:lnSpc>
            <a:spcBef>
              <a:spcPct val="0"/>
            </a:spcBef>
            <a:spcAft>
              <a:spcPct val="35000"/>
            </a:spcAft>
          </a:pPr>
          <a:r>
            <a:rPr lang="en-US" sz="800" kern="1200" dirty="0" smtClean="0"/>
            <a:t>Fundamentals</a:t>
          </a:r>
          <a:endParaRPr lang="en-US" sz="800" kern="1200" dirty="0"/>
        </a:p>
      </dsp:txBody>
      <dsp:txXfrm>
        <a:off x="1439391" y="1161034"/>
        <a:ext cx="839182" cy="456926"/>
      </dsp:txXfrm>
    </dsp:sp>
    <dsp:sp modelId="{FF740D9C-BB4A-4A69-A650-C33BF11DC02D}">
      <dsp:nvSpPr>
        <dsp:cNvPr id="0" name=""/>
        <dsp:cNvSpPr/>
      </dsp:nvSpPr>
      <dsp:spPr>
        <a:xfrm>
          <a:off x="1366755" y="1332"/>
          <a:ext cx="984453"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solidFill>
                <a:schemeClr val="bg1"/>
              </a:solidFill>
            </a:rPr>
            <a:t>Input Placement</a:t>
          </a:r>
          <a:endParaRPr lang="en-US" sz="600" kern="1200" dirty="0">
            <a:solidFill>
              <a:schemeClr val="bg1"/>
            </a:solidFill>
          </a:endParaRPr>
        </a:p>
      </dsp:txBody>
      <dsp:txXfrm>
        <a:off x="1510925" y="102214"/>
        <a:ext cx="696113" cy="487098"/>
      </dsp:txXfrm>
    </dsp:sp>
    <dsp:sp modelId="{8F5137FA-152A-4104-9AB8-ED4CBB4AFC1E}">
      <dsp:nvSpPr>
        <dsp:cNvPr id="0" name=""/>
        <dsp:cNvSpPr/>
      </dsp:nvSpPr>
      <dsp:spPr>
        <a:xfrm>
          <a:off x="2558285" y="1045066"/>
          <a:ext cx="688862" cy="688862"/>
        </a:xfrm>
        <a:prstGeom prst="ellipse">
          <a:avLst/>
        </a:prstGeom>
        <a:solidFill>
          <a:schemeClr val="accent1"/>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solidFill>
                <a:schemeClr val="bg1"/>
              </a:solidFill>
            </a:rPr>
            <a:t>Application Timing</a:t>
          </a:r>
          <a:endParaRPr lang="en-US" sz="600" kern="1200" dirty="0">
            <a:solidFill>
              <a:schemeClr val="bg1"/>
            </a:solidFill>
          </a:endParaRPr>
        </a:p>
      </dsp:txBody>
      <dsp:txXfrm>
        <a:off x="2659167" y="1145948"/>
        <a:ext cx="487098" cy="487098"/>
      </dsp:txXfrm>
    </dsp:sp>
    <dsp:sp modelId="{0A17AF9F-C04E-41A0-AEFF-82D66218B9C8}">
      <dsp:nvSpPr>
        <dsp:cNvPr id="0" name=""/>
        <dsp:cNvSpPr/>
      </dsp:nvSpPr>
      <dsp:spPr>
        <a:xfrm>
          <a:off x="1514551" y="2088800"/>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Rate</a:t>
          </a:r>
          <a:endParaRPr lang="en-US" sz="600" kern="1200" dirty="0"/>
        </a:p>
      </dsp:txBody>
      <dsp:txXfrm>
        <a:off x="1615433" y="2189682"/>
        <a:ext cx="487098" cy="487098"/>
      </dsp:txXfrm>
    </dsp:sp>
    <dsp:sp modelId="{A71994AC-2F45-41D0-B3D8-B04A1FEC4434}">
      <dsp:nvSpPr>
        <dsp:cNvPr id="0" name=""/>
        <dsp:cNvSpPr/>
      </dsp:nvSpPr>
      <dsp:spPr>
        <a:xfrm>
          <a:off x="332631" y="1045066"/>
          <a:ext cx="965234" cy="688862"/>
        </a:xfrm>
        <a:prstGeom prst="ellipse">
          <a:avLst/>
        </a:prstGeom>
        <a:solidFill>
          <a:schemeClr val="accent2"/>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Input Form</a:t>
          </a:r>
          <a:endParaRPr lang="en-US" sz="1400" kern="1200" dirty="0">
            <a:solidFill>
              <a:schemeClr val="tx1"/>
            </a:solidFill>
          </a:endParaRPr>
        </a:p>
      </dsp:txBody>
      <dsp:txXfrm>
        <a:off x="473986" y="1145948"/>
        <a:ext cx="682524" cy="48709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8EC8AF-3388-43CC-BC05-5EB25A273C51}">
      <dsp:nvSpPr>
        <dsp:cNvPr id="0" name=""/>
        <dsp:cNvSpPr/>
      </dsp:nvSpPr>
      <dsp:spPr>
        <a:xfrm>
          <a:off x="390616" y="267175"/>
          <a:ext cx="2137066" cy="2137066"/>
        </a:xfrm>
        <a:prstGeom prst="blockArc">
          <a:avLst>
            <a:gd name="adj1" fmla="val 10530886"/>
            <a:gd name="adj2" fmla="val 17308467"/>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B829480-2B86-443C-8B10-3467EFC8B8A4}">
      <dsp:nvSpPr>
        <dsp:cNvPr id="0" name=""/>
        <dsp:cNvSpPr/>
      </dsp:nvSpPr>
      <dsp:spPr>
        <a:xfrm>
          <a:off x="393513" y="373790"/>
          <a:ext cx="2137066" cy="2137066"/>
        </a:xfrm>
        <a:prstGeom prst="blockArc">
          <a:avLst>
            <a:gd name="adj1" fmla="val 4301588"/>
            <a:gd name="adj2" fmla="val 10882324"/>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D750D8F3-B7C9-468B-BF26-35D7E8E952D3}">
      <dsp:nvSpPr>
        <dsp:cNvPr id="0" name=""/>
        <dsp:cNvSpPr/>
      </dsp:nvSpPr>
      <dsp:spPr>
        <a:xfrm>
          <a:off x="1037098" y="357297"/>
          <a:ext cx="2051561" cy="2137066"/>
        </a:xfrm>
        <a:prstGeom prst="blockArc">
          <a:avLst>
            <a:gd name="adj1" fmla="val 21571991"/>
            <a:gd name="adj2" fmla="val 6309728"/>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11A38E0B-38D6-4789-8277-9D34D0F92EF0}">
      <dsp:nvSpPr>
        <dsp:cNvPr id="0" name=""/>
        <dsp:cNvSpPr/>
      </dsp:nvSpPr>
      <dsp:spPr>
        <a:xfrm>
          <a:off x="996319" y="284095"/>
          <a:ext cx="2137066" cy="2137066"/>
        </a:xfrm>
        <a:prstGeom prst="blockArc">
          <a:avLst>
            <a:gd name="adj1" fmla="val 15283539"/>
            <a:gd name="adj2" fmla="val 213234"/>
            <a:gd name="adj3" fmla="val 464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6E8D21F7-0FE0-4624-9708-8E88D634BF2D}">
      <dsp:nvSpPr>
        <dsp:cNvPr id="0" name=""/>
        <dsp:cNvSpPr/>
      </dsp:nvSpPr>
      <dsp:spPr>
        <a:xfrm>
          <a:off x="750459" y="1066401"/>
          <a:ext cx="2078859" cy="646192"/>
        </a:xfrm>
        <a:prstGeom prst="ellipse">
          <a:avLst/>
        </a:prstGeom>
        <a:solidFill>
          <a:schemeClr val="accent2"/>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solidFill>
            </a:rPr>
            <a:t>Agronomic</a:t>
          </a:r>
        </a:p>
        <a:p>
          <a:pPr lvl="0" algn="ctr" defTabSz="622300">
            <a:lnSpc>
              <a:spcPct val="90000"/>
            </a:lnSpc>
            <a:spcBef>
              <a:spcPct val="0"/>
            </a:spcBef>
            <a:spcAft>
              <a:spcPct val="35000"/>
            </a:spcAft>
          </a:pPr>
          <a:r>
            <a:rPr lang="en-US" sz="1400" b="1" kern="1200" dirty="0" smtClean="0">
              <a:solidFill>
                <a:schemeClr val="tx1"/>
              </a:solidFill>
            </a:rPr>
            <a:t>Fundamentals</a:t>
          </a:r>
          <a:endParaRPr lang="en-US" sz="1400" b="1" kern="1200" dirty="0">
            <a:solidFill>
              <a:schemeClr val="tx1"/>
            </a:solidFill>
          </a:endParaRPr>
        </a:p>
      </dsp:txBody>
      <dsp:txXfrm>
        <a:off x="1054901" y="1161034"/>
        <a:ext cx="1469975" cy="456926"/>
      </dsp:txXfrm>
    </dsp:sp>
    <dsp:sp modelId="{FF740D9C-BB4A-4A69-A650-C33BF11DC02D}">
      <dsp:nvSpPr>
        <dsp:cNvPr id="0" name=""/>
        <dsp:cNvSpPr/>
      </dsp:nvSpPr>
      <dsp:spPr>
        <a:xfrm>
          <a:off x="1297662" y="1332"/>
          <a:ext cx="984453"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solidFill>
                <a:schemeClr val="bg1"/>
              </a:solidFill>
            </a:rPr>
            <a:t>Input Placement</a:t>
          </a:r>
          <a:endParaRPr lang="en-US" sz="600" kern="1200" dirty="0">
            <a:solidFill>
              <a:schemeClr val="bg1"/>
            </a:solidFill>
          </a:endParaRPr>
        </a:p>
      </dsp:txBody>
      <dsp:txXfrm>
        <a:off x="1441832" y="102214"/>
        <a:ext cx="696113" cy="487098"/>
      </dsp:txXfrm>
    </dsp:sp>
    <dsp:sp modelId="{8F5137FA-152A-4104-9AB8-ED4CBB4AFC1E}">
      <dsp:nvSpPr>
        <dsp:cNvPr id="0" name=""/>
        <dsp:cNvSpPr/>
      </dsp:nvSpPr>
      <dsp:spPr>
        <a:xfrm>
          <a:off x="2762147" y="1072895"/>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Timing</a:t>
          </a:r>
          <a:endParaRPr lang="en-US" sz="600" kern="1200" dirty="0"/>
        </a:p>
      </dsp:txBody>
      <dsp:txXfrm>
        <a:off x="2863029" y="1173777"/>
        <a:ext cx="487098" cy="487098"/>
      </dsp:txXfrm>
    </dsp:sp>
    <dsp:sp modelId="{0A17AF9F-C04E-41A0-AEFF-82D66218B9C8}">
      <dsp:nvSpPr>
        <dsp:cNvPr id="0" name=""/>
        <dsp:cNvSpPr/>
      </dsp:nvSpPr>
      <dsp:spPr>
        <a:xfrm>
          <a:off x="1445458" y="2088800"/>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Application Rate</a:t>
          </a:r>
          <a:endParaRPr lang="en-US" sz="600" kern="1200" dirty="0"/>
        </a:p>
      </dsp:txBody>
      <dsp:txXfrm>
        <a:off x="1546340" y="2189682"/>
        <a:ext cx="487098" cy="487098"/>
      </dsp:txXfrm>
    </dsp:sp>
    <dsp:sp modelId="{A71994AC-2F45-41D0-B3D8-B04A1FEC4434}">
      <dsp:nvSpPr>
        <dsp:cNvPr id="0" name=""/>
        <dsp:cNvSpPr/>
      </dsp:nvSpPr>
      <dsp:spPr>
        <a:xfrm>
          <a:off x="74180" y="1072899"/>
          <a:ext cx="688862" cy="688862"/>
        </a:xfrm>
        <a:prstGeom prst="ellipse">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266700">
            <a:lnSpc>
              <a:spcPct val="90000"/>
            </a:lnSpc>
            <a:spcBef>
              <a:spcPct val="0"/>
            </a:spcBef>
            <a:spcAft>
              <a:spcPct val="35000"/>
            </a:spcAft>
          </a:pPr>
          <a:r>
            <a:rPr lang="en-US" sz="600" kern="1200" dirty="0" smtClean="0"/>
            <a:t>Input Form</a:t>
          </a:r>
          <a:endParaRPr lang="en-US" sz="600" kern="1200" dirty="0"/>
        </a:p>
      </dsp:txBody>
      <dsp:txXfrm>
        <a:off x="175062" y="1173781"/>
        <a:ext cx="487098" cy="487098"/>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09998</cdr:x>
      <cdr:y>0.07329</cdr:y>
    </cdr:from>
    <cdr:to>
      <cdr:x>0.29498</cdr:x>
      <cdr:y>0.30433</cdr:y>
    </cdr:to>
    <cdr:sp macro="" textlink="">
      <cdr:nvSpPr>
        <cdr:cNvPr id="2" name="TextBox 1"/>
        <cdr:cNvSpPr txBox="1"/>
      </cdr:nvSpPr>
      <cdr:spPr>
        <a:xfrm xmlns:a="http://schemas.openxmlformats.org/drawingml/2006/main">
          <a:off x="468818" y="29006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E1BC29B4-C917-409F-A914-DD6F3AFC891C}" type="datetimeFigureOut">
              <a:rPr lang="en-US" smtClean="0"/>
              <a:pPr/>
              <a:t>12/10/201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68216DB7-E12A-4A25-8FE2-D6D20D0195A8}" type="slidenum">
              <a:rPr lang="en-US" smtClean="0"/>
              <a:pPr/>
              <a:t>‹#›</a:t>
            </a:fld>
            <a:endParaRPr lang="en-US"/>
          </a:p>
        </p:txBody>
      </p:sp>
    </p:spTree>
    <p:extLst>
      <p:ext uri="{BB962C8B-B14F-4D97-AF65-F5344CB8AC3E}">
        <p14:creationId xmlns:p14="http://schemas.microsoft.com/office/powerpoint/2010/main" xmlns="" val="1654305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p:cNvSpPr>
            <a:spLocks noGrp="1" noChangeArrowheads="1"/>
          </p:cNvSpPr>
          <p:nvPr>
            <p:ph type="hdr" sz="quarter"/>
          </p:nvPr>
        </p:nvSpPr>
        <p:spPr bwMode="auto">
          <a:xfrm>
            <a:off x="0"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defRPr sz="1200"/>
            </a:lvl1pPr>
          </a:lstStyle>
          <a:p>
            <a:pPr>
              <a:defRPr/>
            </a:pPr>
            <a:endParaRPr lang="en-US" dirty="0"/>
          </a:p>
        </p:txBody>
      </p:sp>
      <p:sp>
        <p:nvSpPr>
          <p:cNvPr id="28675" name="Rectangle 3"/>
          <p:cNvSpPr>
            <a:spLocks noGrp="1" noChangeArrowheads="1"/>
          </p:cNvSpPr>
          <p:nvPr>
            <p:ph type="dt" idx="1"/>
          </p:nvPr>
        </p:nvSpPr>
        <p:spPr bwMode="auto">
          <a:xfrm>
            <a:off x="3970938" y="0"/>
            <a:ext cx="3037840" cy="46482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a:defRPr sz="1200"/>
            </a:lvl1pPr>
          </a:lstStyle>
          <a:p>
            <a:pPr>
              <a:defRPr/>
            </a:pPr>
            <a:endParaRPr lang="en-US" dirty="0"/>
          </a:p>
        </p:txBody>
      </p:sp>
      <p:sp>
        <p:nvSpPr>
          <p:cNvPr id="9220"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28677" name="Rectangle 5"/>
          <p:cNvSpPr>
            <a:spLocks noGrp="1" noChangeArrowheads="1"/>
          </p:cNvSpPr>
          <p:nvPr>
            <p:ph type="body" sz="quarter" idx="3"/>
          </p:nvPr>
        </p:nvSpPr>
        <p:spPr bwMode="auto">
          <a:xfrm>
            <a:off x="701040" y="4415790"/>
            <a:ext cx="5608320" cy="4183380"/>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8678" name="Rectangle 6"/>
          <p:cNvSpPr>
            <a:spLocks noGrp="1" noChangeArrowheads="1"/>
          </p:cNvSpPr>
          <p:nvPr>
            <p:ph type="ftr" sz="quarter" idx="4"/>
          </p:nvPr>
        </p:nvSpPr>
        <p:spPr bwMode="auto">
          <a:xfrm>
            <a:off x="0" y="8829967"/>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defRPr sz="1200"/>
            </a:lvl1pPr>
          </a:lstStyle>
          <a:p>
            <a:pPr>
              <a:defRPr/>
            </a:pPr>
            <a:endParaRPr lang="en-US" dirty="0"/>
          </a:p>
        </p:txBody>
      </p:sp>
      <p:sp>
        <p:nvSpPr>
          <p:cNvPr id="28679" name="Rectangle 7"/>
          <p:cNvSpPr>
            <a:spLocks noGrp="1" noChangeArrowheads="1"/>
          </p:cNvSpPr>
          <p:nvPr>
            <p:ph type="sldNum" sz="quarter" idx="5"/>
          </p:nvPr>
        </p:nvSpPr>
        <p:spPr bwMode="auto">
          <a:xfrm>
            <a:off x="3970938" y="8829967"/>
            <a:ext cx="3037840" cy="464820"/>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a:defRPr sz="1200"/>
            </a:lvl1pPr>
          </a:lstStyle>
          <a:p>
            <a:pPr>
              <a:defRPr/>
            </a:pPr>
            <a:fld id="{2DD00360-1142-41BB-B675-4ECD2A305884}" type="slidenum">
              <a:rPr lang="en-US"/>
              <a:pPr>
                <a:defRPr/>
              </a:pPr>
              <a:t>‹#›</a:t>
            </a:fld>
            <a:endParaRPr lang="en-US" dirty="0"/>
          </a:p>
        </p:txBody>
      </p:sp>
    </p:spTree>
    <p:extLst>
      <p:ext uri="{BB962C8B-B14F-4D97-AF65-F5344CB8AC3E}">
        <p14:creationId xmlns:p14="http://schemas.microsoft.com/office/powerpoint/2010/main" xmlns="" val="26580982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imf.org/external/ns/cs.aspx?id=28"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imf.org/external/ns/cs.aspx?id=28"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p>
            <a:fld id="{7C31B718-C0EC-410E-9813-B62408C4B571}" type="slidenum">
              <a:rPr lang="en-US" smtClean="0"/>
              <a:pPr/>
              <a:t>3</a:t>
            </a:fld>
            <a:endParaRPr lang="en-US" smtClean="0"/>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a:ln/>
        </p:spPr>
        <p:txBody>
          <a:bodyPr/>
          <a:lstStyle/>
          <a:p>
            <a:pPr eaLnBrk="1" hangingPunct="1"/>
            <a:r>
              <a:rPr lang="en-US" dirty="0" smtClean="0"/>
              <a:t>Last Checked: 4/16/2013</a:t>
            </a:r>
          </a:p>
          <a:p>
            <a:pPr eaLnBrk="1" hangingPunct="1"/>
            <a:r>
              <a:rPr lang="en-US" dirty="0" smtClean="0"/>
              <a:t>Frequency: WEO database is release each </a:t>
            </a:r>
            <a:r>
              <a:rPr lang="en-US" b="1" dirty="0" smtClean="0"/>
              <a:t>April</a:t>
            </a:r>
            <a:r>
              <a:rPr lang="en-US" dirty="0" smtClean="0"/>
              <a:t> and </a:t>
            </a:r>
            <a:r>
              <a:rPr lang="en-US" b="1" dirty="0" smtClean="0"/>
              <a:t>October</a:t>
            </a:r>
            <a:r>
              <a:rPr lang="en-US" dirty="0" smtClean="0"/>
              <a:t> (twice a year) – updated in January and June/July</a:t>
            </a:r>
          </a:p>
          <a:p>
            <a:pPr eaLnBrk="1" hangingPunct="1"/>
            <a:r>
              <a:rPr lang="en-US" dirty="0" smtClean="0"/>
              <a:t>Data Source: IMF, World Economic Outlook Update, Oct. 2012</a:t>
            </a:r>
          </a:p>
          <a:p>
            <a:pPr eaLnBrk="1" hangingPunct="1"/>
            <a:endParaRPr lang="en-US" dirty="0" smtClean="0"/>
          </a:p>
          <a:p>
            <a:pPr eaLnBrk="1" hangingPunct="1"/>
            <a:r>
              <a:rPr lang="en-US" dirty="0" smtClean="0"/>
              <a:t>Site:  </a:t>
            </a:r>
            <a:r>
              <a:rPr lang="en-US" dirty="0" smtClean="0">
                <a:hlinkClick r:id="rId3" tooltip="http://www.imf.org/external/ns/cs.aspx?id=28"/>
              </a:rPr>
              <a:t>http://www.imf.org/external/ns/cs.aspx?id=28</a:t>
            </a:r>
            <a:r>
              <a:rPr lang="en-US" dirty="0" smtClean="0"/>
              <a:t> </a:t>
            </a:r>
          </a:p>
          <a:p>
            <a:pPr eaLnBrk="1" hangingPunct="1"/>
            <a:r>
              <a:rPr lang="en-US" dirty="0" smtClean="0"/>
              <a:t>Data File:  JBP Presentations\Data\Current\IMF GDP.v2.xlsx</a:t>
            </a:r>
          </a:p>
          <a:p>
            <a:pPr eaLnBrk="1" hangingPunct="1"/>
            <a:endParaRPr lang="en-US" dirty="0" smtClean="0"/>
          </a:p>
          <a:p>
            <a:pPr eaLnBrk="1" hangingPunct="1"/>
            <a:r>
              <a:rPr lang="en-US" dirty="0" smtClean="0"/>
              <a:t>Instructions:</a:t>
            </a:r>
          </a:p>
          <a:p>
            <a:pPr eaLnBrk="1" hangingPunct="1"/>
            <a:r>
              <a:rPr lang="en-US" dirty="0" smtClean="0"/>
              <a:t>1. Visit IMF Website: http://www.imf.org/external/ns/cs.aspx?id=28</a:t>
            </a:r>
          </a:p>
          <a:p>
            <a:pPr eaLnBrk="1" hangingPunct="1"/>
            <a:r>
              <a:rPr lang="en-US" dirty="0" smtClean="0"/>
              <a:t>2. Select Country Groups</a:t>
            </a:r>
          </a:p>
          <a:p>
            <a:pPr eaLnBrk="1" hangingPunct="1"/>
            <a:r>
              <a:rPr lang="en-US" dirty="0" smtClean="0"/>
              <a:t>3. Select World (might as well download World, EU, Africa, Central &amp; Eastern Europe, Commonwealth of Mongolia, Developing Asia, Middle East, Western Hemisphere)</a:t>
            </a:r>
          </a:p>
          <a:p>
            <a:pPr eaLnBrk="1" hangingPunct="1"/>
            <a:r>
              <a:rPr lang="en-US" dirty="0" smtClean="0"/>
              <a:t>4. Select the first option of GDP constant prices, annual percent change</a:t>
            </a:r>
          </a:p>
          <a:p>
            <a:pPr eaLnBrk="1" hangingPunct="1"/>
            <a:r>
              <a:rPr lang="en-US" dirty="0" smtClean="0"/>
              <a:t>5. Select the appropriate years and hit produce report</a:t>
            </a:r>
          </a:p>
          <a:p>
            <a:pPr eaLnBrk="1" hangingPunct="1"/>
            <a:endParaRPr lang="en-US" dirty="0" smtClean="0"/>
          </a:p>
          <a:p>
            <a:pPr eaLnBrk="1" hangingPunct="1"/>
            <a:endParaRPr lang="en-US" dirty="0" smtClean="0"/>
          </a:p>
          <a:p>
            <a:pPr eaLnBrk="1" hangingPunct="1"/>
            <a:r>
              <a:rPr lang="en-US" dirty="0" smtClean="0"/>
              <a:t>Amended Instructions:</a:t>
            </a:r>
          </a:p>
          <a:p>
            <a:pPr eaLnBrk="1" hangingPunct="1"/>
            <a:r>
              <a:rPr lang="en-US" dirty="0" smtClean="0"/>
              <a:t> - Download GDP annual percent change, constant prices for:</a:t>
            </a:r>
          </a:p>
          <a:p>
            <a:pPr eaLnBrk="1" hangingPunct="1"/>
            <a:r>
              <a:rPr lang="en-US" dirty="0" smtClean="0"/>
              <a:t>	- All regions/Groups</a:t>
            </a:r>
          </a:p>
          <a:p>
            <a:pPr eaLnBrk="1" hangingPunct="1"/>
            <a:r>
              <a:rPr lang="en-US" dirty="0" smtClean="0"/>
              <a:t>	- All countries</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  Potential Yield</a:t>
            </a:r>
            <a:r>
              <a:rPr lang="en-US" baseline="0" dirty="0" smtClean="0"/>
              <a:t> total by key regions and crops</a:t>
            </a:r>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2</a:t>
            </a:fld>
            <a:endParaRPr lang="en-US" dirty="0"/>
          </a:p>
        </p:txBody>
      </p:sp>
    </p:spTree>
    <p:extLst>
      <p:ext uri="{BB962C8B-B14F-4D97-AF65-F5344CB8AC3E}">
        <p14:creationId xmlns:p14="http://schemas.microsoft.com/office/powerpoint/2010/main" xmlns="" val="41634684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ontractors</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6F39CEBA-5CCC-4799-8F41-60781CCBCF2F}" type="slidenum">
              <a:rPr lang="en-US" smtClean="0"/>
              <a:pPr/>
              <a:t>14</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  Fertilizer use </a:t>
            </a:r>
            <a:r>
              <a:rPr lang="en-US" dirty="0" err="1" smtClean="0"/>
              <a:t>vs</a:t>
            </a:r>
            <a:r>
              <a:rPr lang="en-US" dirty="0" smtClean="0"/>
              <a:t> actual yields</a:t>
            </a:r>
            <a:r>
              <a:rPr lang="en-US" baseline="0" dirty="0" smtClean="0"/>
              <a:t> 16 Countries.xls  Tab:  Graph</a:t>
            </a:r>
          </a:p>
          <a:p>
            <a:endParaRPr lang="en-US" baseline="0" dirty="0" smtClean="0"/>
          </a:p>
          <a:p>
            <a:r>
              <a:rPr lang="en-US" baseline="0" dirty="0" smtClean="0"/>
              <a:t>Quotes &amp; Statistics:</a:t>
            </a:r>
          </a:p>
          <a:p>
            <a:pPr marL="171450" indent="-171450">
              <a:buFontTx/>
              <a:buChar char="-"/>
            </a:pPr>
            <a:r>
              <a:rPr lang="en-US" baseline="0" dirty="0" smtClean="0"/>
              <a:t>Usage is 8kg/ha versus a target (CAADP) of 50kg/ha. </a:t>
            </a:r>
            <a:r>
              <a:rPr lang="en-US" sz="1200" b="0" i="0" u="none" strike="noStrike" kern="1200" baseline="0" dirty="0" smtClean="0">
                <a:solidFill>
                  <a:schemeClr val="tx1"/>
                </a:solidFill>
                <a:latin typeface="Arial" charset="0"/>
                <a:ea typeface="+mn-ea"/>
                <a:cs typeface="+mn-cs"/>
              </a:rPr>
              <a:t>At the minimum, mineral fertilizer use should be increased to at least 50 kg of nutrients per hectare by 2015 as per recommendations of the Abuja Summit on fertilizer use in Africa (International Fertilizer Development Center [IFDC], 2006) </a:t>
            </a:r>
            <a:endParaRPr lang="en-US" baseline="0" dirty="0" smtClean="0"/>
          </a:p>
          <a:p>
            <a:pPr marL="171450" indent="-171450">
              <a:buFontTx/>
              <a:buChar char="-"/>
            </a:pPr>
            <a:r>
              <a:rPr lang="en-US" baseline="0" dirty="0" smtClean="0"/>
              <a:t>Fertilizer production in SSA represents less than 1% of global fertilizer production in 2007.</a:t>
            </a:r>
          </a:p>
          <a:p>
            <a:pPr marL="171450" indent="-171450">
              <a:buFontTx/>
              <a:buChar char="-"/>
            </a:pPr>
            <a:r>
              <a:rPr lang="en-US" baseline="0" dirty="0" smtClean="0"/>
              <a:t>The amount of nutrients consumed is 10x the amount produced, which is very low.</a:t>
            </a:r>
          </a:p>
          <a:p>
            <a:pPr marL="171450" indent="-171450">
              <a:buFontTx/>
              <a:buChar char="-"/>
            </a:pPr>
            <a:r>
              <a:rPr lang="en-US" baseline="0" dirty="0" smtClean="0"/>
              <a:t>Production of fertilizer in Africa is basically concentrated in four countries; Zimbabwe, Senegal, Nigeria, Mauritius.</a:t>
            </a:r>
          </a:p>
          <a:p>
            <a:pPr marL="171450" indent="-171450">
              <a:buFontTx/>
              <a:buChar char="-"/>
            </a:pPr>
            <a:r>
              <a:rPr lang="en-US" baseline="0" dirty="0" smtClean="0"/>
              <a:t>No more than four fertilizer producing firms are operating in any of the producing countries in SSA, in most cases only one firm is operating.  </a:t>
            </a:r>
          </a:p>
          <a:p>
            <a:pPr marL="171450" indent="-171450">
              <a:buFontTx/>
              <a:buChar char="-"/>
            </a:pPr>
            <a:r>
              <a:rPr lang="en-US" baseline="0" dirty="0" smtClean="0"/>
              <a:t>Kenya is the main consumer (16% of consumption), Nigeria (15%).</a:t>
            </a:r>
          </a:p>
          <a:p>
            <a:pPr marL="628650" lvl="1" indent="-171450">
              <a:buFontTx/>
              <a:buChar char="-"/>
            </a:pPr>
            <a:r>
              <a:rPr lang="en-US" baseline="0" dirty="0" smtClean="0"/>
              <a:t>Since 1990 Kenya’s fertilizer policy has focused on favoring free markets by decontrolling prices and liberalizing imports and distribution.  This has led to a dramatic increase in consumption.</a:t>
            </a:r>
          </a:p>
          <a:p>
            <a:pPr marL="171450" lvl="0" indent="-171450">
              <a:buFontTx/>
              <a:buChar char="-"/>
            </a:pPr>
            <a:r>
              <a:rPr lang="en-US" baseline="0" dirty="0" smtClean="0"/>
              <a:t>Fertilizer usage could be increased by moving it into remote rural areas using efficient commercial channels, increase </a:t>
            </a:r>
            <a:r>
              <a:rPr lang="en-US" baseline="0" dirty="0" err="1" smtClean="0"/>
              <a:t>affodability</a:t>
            </a:r>
            <a:r>
              <a:rPr lang="en-US" baseline="0" dirty="0" smtClean="0"/>
              <a:t>, create incentives for use (better output markets, improved effectiveness through research).</a:t>
            </a:r>
          </a:p>
          <a:p>
            <a:pPr marL="171450" lvl="0" indent="-171450">
              <a:buFontTx/>
              <a:buChar char="-"/>
            </a:pPr>
            <a:r>
              <a:rPr lang="en-US" baseline="0" dirty="0" smtClean="0"/>
              <a:t>Fertilizer cost is up to 3x the cost in Brazil, India, or Thailand. </a:t>
            </a:r>
            <a:r>
              <a:rPr lang="en-US" sz="1200" b="0" i="0" u="none" strike="noStrike" kern="1200" baseline="0" dirty="0" smtClean="0">
                <a:solidFill>
                  <a:schemeClr val="tx1"/>
                </a:solidFill>
                <a:latin typeface="Arial" charset="0"/>
                <a:ea typeface="+mn-ea"/>
                <a:cs typeface="+mn-cs"/>
              </a:rPr>
              <a:t>Key to this is reducing the high costs of fertilizer, which are often in the range of US$800–US$1,000 per ton at farm gate and the most expensive in the world. </a:t>
            </a:r>
            <a:endParaRPr lang="en-US" baseline="0" dirty="0" smtClean="0"/>
          </a:p>
          <a:p>
            <a:pPr marL="171450" lvl="0" indent="-171450">
              <a:buFontTx/>
              <a:buChar char="-"/>
            </a:pPr>
            <a:r>
              <a:rPr lang="en-US" sz="1200" b="0" i="0" u="none" strike="noStrike" kern="1200" baseline="0" dirty="0" smtClean="0">
                <a:solidFill>
                  <a:schemeClr val="tx1"/>
                </a:solidFill>
                <a:latin typeface="Arial" charset="0"/>
                <a:ea typeface="+mn-ea"/>
                <a:cs typeface="+mn-cs"/>
              </a:rPr>
              <a:t>Soil nutrient losses are estimated to be about 8 million metric tons and are valued at more than US$4 billion (</a:t>
            </a:r>
            <a:r>
              <a:rPr lang="en-US" sz="1200" b="0" i="0" u="none" strike="noStrike" kern="1200" baseline="0" dirty="0" err="1" smtClean="0">
                <a:solidFill>
                  <a:schemeClr val="tx1"/>
                </a:solidFill>
                <a:latin typeface="Arial" charset="0"/>
                <a:ea typeface="+mn-ea"/>
                <a:cs typeface="+mn-cs"/>
              </a:rPr>
              <a:t>Toenniessen</a:t>
            </a:r>
            <a:r>
              <a:rPr lang="en-US" sz="1200" b="0" i="0" u="none" strike="noStrike" kern="1200" baseline="0" dirty="0" smtClean="0">
                <a:solidFill>
                  <a:schemeClr val="tx1"/>
                </a:solidFill>
                <a:latin typeface="Arial" charset="0"/>
                <a:ea typeface="+mn-ea"/>
                <a:cs typeface="+mn-cs"/>
              </a:rPr>
              <a:t>, </a:t>
            </a:r>
            <a:r>
              <a:rPr lang="en-US" sz="1200" b="0" i="0" u="none" strike="noStrike" kern="1200" baseline="0" dirty="0" err="1" smtClean="0">
                <a:solidFill>
                  <a:schemeClr val="tx1"/>
                </a:solidFill>
                <a:latin typeface="Arial" charset="0"/>
                <a:ea typeface="+mn-ea"/>
                <a:cs typeface="+mn-cs"/>
              </a:rPr>
              <a:t>Adesina</a:t>
            </a:r>
            <a:r>
              <a:rPr lang="en-US" sz="1200" b="0" i="0" u="none" strike="noStrike" kern="1200" baseline="0" dirty="0" smtClean="0">
                <a:solidFill>
                  <a:schemeClr val="tx1"/>
                </a:solidFill>
                <a:latin typeface="Arial" charset="0"/>
                <a:ea typeface="+mn-ea"/>
                <a:cs typeface="+mn-cs"/>
              </a:rPr>
              <a:t>, &amp; Devries, 2008). These losses combined with soil erosion have led to soil degradation, with more than 80% of Africa’s soils having chemical or physical limitations that impede crop production (</a:t>
            </a:r>
            <a:r>
              <a:rPr lang="en-US" sz="1200" b="0" i="0" u="none" strike="noStrike" kern="1200" baseline="0" dirty="0" err="1" smtClean="0">
                <a:solidFill>
                  <a:schemeClr val="tx1"/>
                </a:solidFill>
                <a:latin typeface="Arial" charset="0"/>
                <a:ea typeface="+mn-ea"/>
                <a:cs typeface="+mn-cs"/>
              </a:rPr>
              <a:t>Lal</a:t>
            </a:r>
            <a:r>
              <a:rPr lang="en-US" sz="1200" b="0" i="0" u="none" strike="noStrike" kern="1200" baseline="0" dirty="0" smtClean="0">
                <a:solidFill>
                  <a:schemeClr val="tx1"/>
                </a:solidFill>
                <a:latin typeface="Arial" charset="0"/>
                <a:ea typeface="+mn-ea"/>
                <a:cs typeface="+mn-cs"/>
              </a:rPr>
              <a:t>, 2010). This is, indeed, the case with many smallholder fields in Africa, where application of fertilizer and manure inputs have been too low for too long. </a:t>
            </a:r>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6</a:t>
            </a:fld>
            <a:endParaRPr lang="en-US" dirty="0"/>
          </a:p>
        </p:txBody>
      </p:sp>
    </p:spTree>
    <p:extLst>
      <p:ext uri="{BB962C8B-B14F-4D97-AF65-F5344CB8AC3E}">
        <p14:creationId xmlns:p14="http://schemas.microsoft.com/office/powerpoint/2010/main" xmlns="" val="2331901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Because P is so reactive with other chemicals in the soil, it tends to get tied up easily in complex molecules and becomes unavailable. At low pH, soil aluminum levels increase and P binds with aluminum. At high pH, P binds with available calcium.</a:t>
            </a:r>
          </a:p>
          <a:p>
            <a:r>
              <a:rPr lang="en-US" sz="1200" dirty="0" smtClean="0"/>
              <a:t>In acid soils, iron and aluminum in solution and in oxide and hydroxide forms react strongly with added P, binding it so that it is unavailable to plants.</a:t>
            </a:r>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7</a:t>
            </a:fld>
            <a:endParaRPr lang="en-US" dirty="0"/>
          </a:p>
        </p:txBody>
      </p:sp>
    </p:spTree>
    <p:extLst>
      <p:ext uri="{BB962C8B-B14F-4D97-AF65-F5344CB8AC3E}">
        <p14:creationId xmlns:p14="http://schemas.microsoft.com/office/powerpoint/2010/main" xmlns="" val="2331901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inputs playing</a:t>
            </a:r>
            <a:r>
              <a:rPr lang="en-US" baseline="0" dirty="0" smtClean="0"/>
              <a:t> a key role in realizing yield potential, Derek and I have met with DuPont Pioneer to gather industry expertise and discuss their strategy in Africa.</a:t>
            </a:r>
          </a:p>
          <a:p>
            <a:endParaRPr lang="en-US" baseline="0" dirty="0" smtClean="0"/>
          </a:p>
          <a:p>
            <a:r>
              <a:rPr lang="en-US" baseline="0" dirty="0" smtClean="0"/>
              <a:t>The initial push Pioneer is aggressively driving toward is for hybrid adoption which they estimate is between 15-20% across SSA.</a:t>
            </a:r>
          </a:p>
          <a:p>
            <a:endParaRPr lang="en-US" baseline="0" dirty="0" smtClean="0"/>
          </a:p>
          <a:p>
            <a:r>
              <a:rPr lang="en-US" baseline="0" dirty="0" smtClean="0"/>
              <a:t>They realize with 80% of the land being managed by smallholders and 80% of the decisions being made by word of mouth – they needed to develop a strong customer-facing approach and address the education component alongside their sales strategy.  Therefore Pioneer is rapidly growing their sales force by adding a new model of doing business by introducing Pioneer Extension Partners (PEP’s).  These resources will offer a much more hands-on approach, largely due to the large volume being hired and their rural-focused coverage – an innovative complement to their traditional sales and distribution model.  The PEP’s will manage sales and support along with an education component teaching and demonstrating the importance of hybrids.  These resources are hired based on commissioned sales and will be grown to 11K-20K employees in the next 5 years.</a:t>
            </a:r>
          </a:p>
          <a:p>
            <a:endParaRPr lang="en-US" baseline="0" dirty="0" smtClean="0"/>
          </a:p>
          <a:p>
            <a:r>
              <a:rPr lang="en-US" baseline="0" dirty="0" smtClean="0"/>
              <a:t>With 15-20% hybrid adoption today – they consider a modest goal to increase by 3 percentage point gains each year early in the plan, increasing to 6% point gains once their local infrastructures (PEP’s) are in place.  This equates to nearly 40% hybrid adoption in the next 5 year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9</a:t>
            </a:fld>
            <a:endParaRPr lang="en-US" dirty="0"/>
          </a:p>
        </p:txBody>
      </p:sp>
    </p:spTree>
    <p:extLst>
      <p:ext uri="{BB962C8B-B14F-4D97-AF65-F5344CB8AC3E}">
        <p14:creationId xmlns:p14="http://schemas.microsoft.com/office/powerpoint/2010/main" xmlns="" val="1666185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ioneer’s strategy</a:t>
            </a:r>
            <a:r>
              <a:rPr lang="en-US" baseline="0" dirty="0" smtClean="0"/>
              <a:t> and our own analysis reveals that t</a:t>
            </a:r>
            <a:r>
              <a:rPr lang="en-US" dirty="0" smtClean="0"/>
              <a:t>he linchpin in realizing the successful</a:t>
            </a:r>
            <a:r>
              <a:rPr lang="en-US" baseline="0" dirty="0" smtClean="0"/>
              <a:t> management of all these agronomic fundamentals lies with the educational component.  Farmers can not adopt practices they don’t understand or know nothing about.  For those of you who heard Agnes share during the worldwide leadership meeting – she referenced that the majority of farming practices are practiced due to having always been done a certain way in the past.  There are many misconceptions about fertilizer, the timing of plowing and planting and the role of mechanization which must be addressed through training.</a:t>
            </a:r>
          </a:p>
          <a:p>
            <a:endParaRPr lang="en-US" baseline="0" dirty="0" smtClean="0"/>
          </a:p>
          <a:p>
            <a:r>
              <a:rPr lang="en-US" baseline="0" dirty="0" smtClean="0"/>
              <a:t>We talk a lot about creating an enabling ecosystem for the African agriculture sector to thrive.  And this may lead to partnering with other players in the industry or participating in new and unique ways which stretch beyond traditional approaches in order to drive market development vs. waiting for the market to matur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20</a:t>
            </a:fld>
            <a:endParaRPr lang="en-US" dirty="0"/>
          </a:p>
        </p:txBody>
      </p:sp>
    </p:spTree>
    <p:extLst>
      <p:ext uri="{BB962C8B-B14F-4D97-AF65-F5344CB8AC3E}">
        <p14:creationId xmlns:p14="http://schemas.microsoft.com/office/powerpoint/2010/main" xmlns="" val="2166773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7"/>
          <p:cNvSpPr txBox="1">
            <a:spLocks noGrp="1" noChangeArrowheads="1"/>
          </p:cNvSpPr>
          <p:nvPr/>
        </p:nvSpPr>
        <p:spPr bwMode="auto">
          <a:xfrm>
            <a:off x="3969315" y="8829675"/>
            <a:ext cx="3039463" cy="465138"/>
          </a:xfrm>
          <a:prstGeom prst="rect">
            <a:avLst/>
          </a:prstGeom>
          <a:noFill/>
          <a:ln w="9525">
            <a:noFill/>
            <a:miter lim="800000"/>
            <a:headEnd/>
            <a:tailEnd/>
          </a:ln>
        </p:spPr>
        <p:txBody>
          <a:bodyPr lIns="92293" tIns="46147" rIns="92293" bIns="46147" anchor="b"/>
          <a:lstStyle/>
          <a:p>
            <a:pPr algn="r" defTabSz="904875"/>
            <a:fld id="{08A80076-4082-4A9D-9845-A892C381FBEA}" type="slidenum">
              <a:rPr lang="en-US" sz="1200">
                <a:latin typeface="Calibri" pitchFamily="34" charset="0"/>
              </a:rPr>
              <a:pPr algn="r" defTabSz="904875"/>
              <a:t>21</a:t>
            </a:fld>
            <a:endParaRPr lang="en-US" sz="1200">
              <a:latin typeface="Calibri" pitchFamily="34" charset="0"/>
            </a:endParaRPr>
          </a:p>
        </p:txBody>
      </p:sp>
      <p:sp>
        <p:nvSpPr>
          <p:cNvPr id="308227" name="Rectangle 2"/>
          <p:cNvSpPr>
            <a:spLocks noGrp="1" noRot="1" noChangeAspect="1" noChangeArrowheads="1" noTextEdit="1"/>
          </p:cNvSpPr>
          <p:nvPr>
            <p:ph type="sldImg"/>
          </p:nvPr>
        </p:nvSpPr>
        <p:spPr bwMode="auto">
          <a:xfrm>
            <a:off x="784225" y="584200"/>
            <a:ext cx="5451475" cy="4089400"/>
          </a:xfrm>
          <a:noFill/>
          <a:ln>
            <a:solidFill>
              <a:srgbClr val="000000"/>
            </a:solidFill>
            <a:miter lim="800000"/>
            <a:headEnd/>
            <a:tailEnd/>
          </a:ln>
        </p:spPr>
      </p:sp>
      <p:sp>
        <p:nvSpPr>
          <p:cNvPr id="308228" name="Rectangle 3"/>
          <p:cNvSpPr>
            <a:spLocks noGrp="1" noChangeArrowheads="1"/>
          </p:cNvSpPr>
          <p:nvPr>
            <p:ph type="body" idx="1"/>
          </p:nvPr>
        </p:nvSpPr>
        <p:spPr bwMode="auto">
          <a:xfrm>
            <a:off x="564726" y="4992689"/>
            <a:ext cx="5979937" cy="219075"/>
          </a:xfrm>
          <a:noFill/>
        </p:spPr>
        <p:txBody>
          <a:bodyPr wrap="square" lIns="92293" tIns="46147" rIns="92293" bIns="46147" numCol="1" anchor="t" anchorCtr="0" compatLnSpc="1">
            <a:prstTxWarp prst="textNoShape">
              <a:avLst/>
            </a:prstTxWarp>
          </a:bodyPr>
          <a:lstStyle/>
          <a:p>
            <a:pPr defTabSz="912813">
              <a:spcBef>
                <a:spcPct val="0"/>
              </a:spcBef>
            </a:pPr>
            <a:endParaRPr lang="en-GB"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txBox="1">
            <a:spLocks noGrp="1" noChangeArrowheads="1"/>
          </p:cNvSpPr>
          <p:nvPr/>
        </p:nvSpPr>
        <p:spPr bwMode="gray">
          <a:xfrm>
            <a:off x="6256338" y="8953500"/>
            <a:ext cx="554037"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defTabSz="830263" eaLnBrk="0" hangingPunct="0">
              <a:defRPr>
                <a:solidFill>
                  <a:schemeClr val="tx1"/>
                </a:solidFill>
                <a:latin typeface="Arial" pitchFamily="34" charset="0"/>
                <a:cs typeface="Arial" pitchFamily="34" charset="0"/>
              </a:defRPr>
            </a:lvl1pPr>
            <a:lvl2pPr marL="742950" indent="-285750" defTabSz="830263" eaLnBrk="0" hangingPunct="0">
              <a:defRPr>
                <a:solidFill>
                  <a:schemeClr val="tx1"/>
                </a:solidFill>
                <a:latin typeface="Arial" pitchFamily="34" charset="0"/>
                <a:cs typeface="Arial" pitchFamily="34" charset="0"/>
              </a:defRPr>
            </a:lvl2pPr>
            <a:lvl3pPr marL="1143000" indent="-228600" defTabSz="830263" eaLnBrk="0" hangingPunct="0">
              <a:defRPr>
                <a:solidFill>
                  <a:schemeClr val="tx1"/>
                </a:solidFill>
                <a:latin typeface="Arial" pitchFamily="34" charset="0"/>
                <a:cs typeface="Arial" pitchFamily="34" charset="0"/>
              </a:defRPr>
            </a:lvl3pPr>
            <a:lvl4pPr marL="1600200" indent="-228600" defTabSz="830263" eaLnBrk="0" hangingPunct="0">
              <a:defRPr>
                <a:solidFill>
                  <a:schemeClr val="tx1"/>
                </a:solidFill>
                <a:latin typeface="Arial" pitchFamily="34" charset="0"/>
                <a:cs typeface="Arial" pitchFamily="34" charset="0"/>
              </a:defRPr>
            </a:lvl4pPr>
            <a:lvl5pPr marL="2057400" indent="-228600" defTabSz="830263" eaLnBrk="0" hangingPunct="0">
              <a:defRPr>
                <a:solidFill>
                  <a:schemeClr val="tx1"/>
                </a:solidFill>
                <a:latin typeface="Arial" pitchFamily="34" charset="0"/>
                <a:cs typeface="Arial" pitchFamily="34" charset="0"/>
              </a:defRPr>
            </a:lvl5pPr>
            <a:lvl6pPr marL="2514600" indent="-228600" defTabSz="83026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3026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3026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3026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62E0D8F0-13FD-4844-B1A2-4B4F969BE7A3}" type="slidenum">
              <a:rPr lang="en-US" sz="1000">
                <a:latin typeface="Calibri" pitchFamily="34" charset="0"/>
              </a:rPr>
              <a:pPr algn="r" eaLnBrk="1" hangingPunct="1"/>
              <a:t>22</a:t>
            </a:fld>
            <a:endParaRPr lang="en-US" sz="1000">
              <a:latin typeface="Calibri" pitchFamily="34" charset="0"/>
            </a:endParaRPr>
          </a:p>
        </p:txBody>
      </p:sp>
      <p:sp>
        <p:nvSpPr>
          <p:cNvPr id="54275" name="doc id"/>
          <p:cNvSpPr txBox="1">
            <a:spLocks noGrp="1" noChangeArrowheads="1"/>
          </p:cNvSpPr>
          <p:nvPr/>
        </p:nvSpPr>
        <p:spPr bwMode="gray">
          <a:xfrm>
            <a:off x="5748338" y="107950"/>
            <a:ext cx="1062037" cy="109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defTabSz="830263" eaLnBrk="0" hangingPunct="0">
              <a:defRPr>
                <a:solidFill>
                  <a:schemeClr val="tx1"/>
                </a:solidFill>
                <a:latin typeface="Arial" pitchFamily="34" charset="0"/>
                <a:cs typeface="Arial" pitchFamily="34" charset="0"/>
              </a:defRPr>
            </a:lvl1pPr>
            <a:lvl2pPr marL="742950" indent="-285750" defTabSz="830263" eaLnBrk="0" hangingPunct="0">
              <a:defRPr>
                <a:solidFill>
                  <a:schemeClr val="tx1"/>
                </a:solidFill>
                <a:latin typeface="Arial" pitchFamily="34" charset="0"/>
                <a:cs typeface="Arial" pitchFamily="34" charset="0"/>
              </a:defRPr>
            </a:lvl2pPr>
            <a:lvl3pPr marL="1143000" indent="-228600" defTabSz="830263" eaLnBrk="0" hangingPunct="0">
              <a:defRPr>
                <a:solidFill>
                  <a:schemeClr val="tx1"/>
                </a:solidFill>
                <a:latin typeface="Arial" pitchFamily="34" charset="0"/>
                <a:cs typeface="Arial" pitchFamily="34" charset="0"/>
              </a:defRPr>
            </a:lvl3pPr>
            <a:lvl4pPr marL="1600200" indent="-228600" defTabSz="830263" eaLnBrk="0" hangingPunct="0">
              <a:defRPr>
                <a:solidFill>
                  <a:schemeClr val="tx1"/>
                </a:solidFill>
                <a:latin typeface="Arial" pitchFamily="34" charset="0"/>
                <a:cs typeface="Arial" pitchFamily="34" charset="0"/>
              </a:defRPr>
            </a:lvl4pPr>
            <a:lvl5pPr marL="2057400" indent="-228600" defTabSz="830263" eaLnBrk="0" hangingPunct="0">
              <a:defRPr>
                <a:solidFill>
                  <a:schemeClr val="tx1"/>
                </a:solidFill>
                <a:latin typeface="Arial" pitchFamily="34" charset="0"/>
                <a:cs typeface="Arial" pitchFamily="34" charset="0"/>
              </a:defRPr>
            </a:lvl5pPr>
            <a:lvl6pPr marL="2514600" indent="-228600" defTabSz="83026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3026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3026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3026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700">
                <a:latin typeface="Calibri" pitchFamily="34" charset="0"/>
              </a:rPr>
              <a:t>JOH-ZZJ205-20100430-CS-P2</a:t>
            </a:r>
          </a:p>
        </p:txBody>
      </p:sp>
      <p:sp>
        <p:nvSpPr>
          <p:cNvPr id="54276" name="Rectangle 2"/>
          <p:cNvSpPr>
            <a:spLocks noGrp="1" noRot="1" noChangeAspect="1" noChangeArrowheads="1" noTextEdit="1"/>
          </p:cNvSpPr>
          <p:nvPr>
            <p:ph type="sldImg"/>
          </p:nvPr>
        </p:nvSpPr>
        <p:spPr>
          <a:xfrm>
            <a:off x="-1812925" y="1201738"/>
            <a:ext cx="10583863" cy="7937500"/>
          </a:xfrm>
          <a:ln/>
        </p:spPr>
      </p:sp>
      <p:sp>
        <p:nvSpPr>
          <p:cNvPr id="54277" name="Rectangle 3"/>
          <p:cNvSpPr>
            <a:spLocks noGrp="1" noChangeArrowheads="1"/>
          </p:cNvSpPr>
          <p:nvPr>
            <p:ph type="body" idx="1"/>
          </p:nvPr>
        </p:nvSpPr>
        <p:spPr>
          <a:xfrm>
            <a:off x="563563" y="334963"/>
            <a:ext cx="6213475" cy="1873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defTabSz="893763">
              <a:spcBef>
                <a:spcPct val="0"/>
              </a:spcBef>
            </a:pPr>
            <a:r>
              <a:rPr lang="en-US" noProof="0" dirty="0" smtClean="0">
                <a:latin typeface="Arial" pitchFamily="34" charset="0"/>
              </a:rPr>
              <a:t>GDP</a:t>
            </a:r>
            <a:r>
              <a:rPr lang="en-US" baseline="0" noProof="0" dirty="0" smtClean="0">
                <a:latin typeface="Arial" pitchFamily="34" charset="0"/>
              </a:rPr>
              <a:t> CAGR is an indicator of a markets ability to grow.  As you’ll see the projected CAGR </a:t>
            </a:r>
            <a:r>
              <a:rPr lang="en-US" noProof="0" dirty="0" smtClean="0">
                <a:latin typeface="Arial" pitchFamily="34" charset="0"/>
              </a:rPr>
              <a:t>is strong in the region at 4.6%, 2nd to emerging Asia.  </a:t>
            </a:r>
          </a:p>
          <a:p>
            <a:pPr defTabSz="893763">
              <a:spcBef>
                <a:spcPct val="0"/>
              </a:spcBef>
            </a:pPr>
            <a:endParaRPr lang="en-US" noProof="0" dirty="0" smtClean="0">
              <a:latin typeface="Arial" pitchFamily="34" charset="0"/>
            </a:endParaRPr>
          </a:p>
          <a:p>
            <a:pPr marL="0" marR="0" indent="0" algn="l" defTabSz="893763" rtl="0" eaLnBrk="0" fontAlgn="base" latinLnBrk="0" hangingPunct="0">
              <a:lnSpc>
                <a:spcPct val="100000"/>
              </a:lnSpc>
              <a:spcBef>
                <a:spcPct val="0"/>
              </a:spcBef>
              <a:spcAft>
                <a:spcPct val="0"/>
              </a:spcAft>
              <a:buClrTx/>
              <a:buSzTx/>
              <a:buFontTx/>
              <a:buNone/>
              <a:tabLst/>
              <a:defRPr/>
            </a:pPr>
            <a:r>
              <a:rPr lang="en-US" dirty="0" smtClean="0"/>
              <a:t>________________________________________</a:t>
            </a:r>
          </a:p>
          <a:p>
            <a:pPr defTabSz="893763">
              <a:spcBef>
                <a:spcPct val="0"/>
              </a:spcBef>
            </a:pPr>
            <a:endParaRPr lang="en-US" noProof="0" dirty="0" smtClean="0">
              <a:latin typeface="Arial" pitchFamily="34" charset="0"/>
            </a:endParaRPr>
          </a:p>
          <a:p>
            <a:pPr defTabSz="893763">
              <a:spcBef>
                <a:spcPct val="0"/>
              </a:spcBef>
            </a:pPr>
            <a:r>
              <a:rPr lang="en-US" noProof="0" dirty="0" smtClean="0">
                <a:latin typeface="Arial" pitchFamily="34" charset="0"/>
              </a:rPr>
              <a:t>2000-2010</a:t>
            </a:r>
            <a:r>
              <a:rPr lang="en-US" baseline="0" noProof="0" dirty="0" smtClean="0">
                <a:latin typeface="Arial" pitchFamily="34" charset="0"/>
              </a:rPr>
              <a:t> data showed 5% growth</a:t>
            </a:r>
            <a:endParaRPr lang="en-US" noProof="0" dirty="0"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often</a:t>
            </a:r>
            <a:r>
              <a:rPr lang="en-US" baseline="0" dirty="0" smtClean="0"/>
              <a:t> perceived with large population growth even with GDP growth that GDP per capita would be small – however we see that in some countries that’s not necessarily true – especially in our top and middle categories.  You can see the CAGR’s represented by the triangles – the scale on the right.</a:t>
            </a:r>
          </a:p>
          <a:p>
            <a:endParaRPr lang="en-US" dirty="0" smtClean="0"/>
          </a:p>
          <a:p>
            <a:r>
              <a:rPr lang="en-US" baseline="0" dirty="0" smtClean="0"/>
              <a:t>GDP is based on real GDP vs. nominal</a:t>
            </a:r>
            <a:endParaRPr lang="en-US" dirty="0" smtClean="0"/>
          </a:p>
          <a:p>
            <a:endParaRPr lang="en-US" baseline="0" dirty="0" smtClean="0"/>
          </a:p>
          <a:p>
            <a:r>
              <a:rPr lang="en-US" baseline="0" dirty="0" smtClean="0"/>
              <a:t>Implications:  We haven’t studied but a question worth pursuing – what impact do the absolute values of GDP per capita have?  Enough to drive advancements in </a:t>
            </a:r>
            <a:r>
              <a:rPr lang="en-US" baseline="0" dirty="0" err="1" smtClean="0"/>
              <a:t>ag</a:t>
            </a:r>
            <a:r>
              <a:rPr lang="en-US" baseline="0" dirty="0" smtClean="0"/>
              <a:t> markets?</a:t>
            </a:r>
            <a:endParaRPr lang="en-US" dirty="0" smtClean="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23</a:t>
            </a:fld>
            <a:endParaRPr lang="en-US" dirty="0"/>
          </a:p>
        </p:txBody>
      </p:sp>
    </p:spTree>
    <p:extLst>
      <p:ext uri="{BB962C8B-B14F-4D97-AF65-F5344CB8AC3E}">
        <p14:creationId xmlns:p14="http://schemas.microsoft.com/office/powerpoint/2010/main" xmlns="" val="955507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0" dirty="0" smtClean="0">
                <a:solidFill>
                  <a:schemeClr val="tx1"/>
                </a:solidFill>
              </a:rPr>
              <a:t>Infrastructure another factor that inhibits or enhances growth</a:t>
            </a:r>
            <a:r>
              <a:rPr lang="en-US" sz="1200" kern="0" baseline="0" dirty="0" smtClean="0">
                <a:solidFill>
                  <a:schemeClr val="tx1"/>
                </a:solidFill>
              </a:rPr>
              <a:t> and the g</a:t>
            </a:r>
            <a:r>
              <a:rPr lang="en-US" sz="1200" kern="0" dirty="0" smtClean="0">
                <a:solidFill>
                  <a:schemeClr val="tx1"/>
                </a:solidFill>
              </a:rPr>
              <a:t>overnment plays</a:t>
            </a:r>
            <a:r>
              <a:rPr lang="en-US" sz="1200" kern="0" baseline="0" dirty="0" smtClean="0">
                <a:solidFill>
                  <a:schemeClr val="tx1"/>
                </a:solidFill>
              </a:rPr>
              <a:t> a huge role to address.</a:t>
            </a:r>
          </a:p>
          <a:p>
            <a:endParaRPr lang="en-US" sz="1200" kern="0" baseline="0" dirty="0" smtClean="0">
              <a:solidFill>
                <a:schemeClr val="tx1"/>
              </a:solidFill>
            </a:endParaRPr>
          </a:p>
          <a:p>
            <a:r>
              <a:rPr lang="en-US" sz="1200" kern="0" baseline="0" dirty="0" smtClean="0">
                <a:solidFill>
                  <a:schemeClr val="tx1"/>
                </a:solidFill>
              </a:rPr>
              <a:t>If you look at infrastructure in terms of percent paved roads – generally low in all countries.  Specific example of impact infrastructure has is realized in this fertilizer example – comparing delivered fertilizer prices for a ton of fertilizer in the US vs. Zambia  Identical products – delivered at grossly different prices.</a:t>
            </a:r>
          </a:p>
          <a:p>
            <a:endParaRPr lang="en-US" sz="1200" kern="0" baseline="0" dirty="0" smtClean="0">
              <a:solidFill>
                <a:schemeClr val="tx1"/>
              </a:solidFill>
            </a:endParaRPr>
          </a:p>
          <a:p>
            <a:r>
              <a:rPr lang="en-US" sz="1200" kern="0" dirty="0" smtClean="0">
                <a:solidFill>
                  <a:schemeClr val="tx1"/>
                </a:solidFill>
              </a:rPr>
              <a:t>Fertilizer importers in Zambia face significant transaction costs (e.g., financing costs, corruption and red tape, transport and storage costs) amounting to as high is 83% of the cost consumers in the United States incur. Transport and storage cost seems to be particularly high.</a:t>
            </a:r>
          </a:p>
          <a:p>
            <a:endParaRPr lang="en-US" sz="1200" kern="0" dirty="0" smtClean="0">
              <a:solidFill>
                <a:schemeClr val="tx1"/>
              </a:solidFill>
            </a:endParaRPr>
          </a:p>
          <a:p>
            <a:r>
              <a:rPr lang="en-US" sz="1200" kern="0" dirty="0" smtClean="0">
                <a:solidFill>
                  <a:schemeClr val="tx1"/>
                </a:solidFill>
              </a:rPr>
              <a:t>But as infrastructure</a:t>
            </a:r>
            <a:r>
              <a:rPr lang="en-US" sz="1200" kern="0" baseline="0" dirty="0" smtClean="0">
                <a:solidFill>
                  <a:schemeClr val="tx1"/>
                </a:solidFill>
              </a:rPr>
              <a:t> is improved, those prices will decline.</a:t>
            </a:r>
          </a:p>
          <a:p>
            <a:endParaRPr lang="en-US" sz="1200" kern="0" baseline="0" dirty="0" smtClean="0">
              <a:solidFill>
                <a:schemeClr val="tx1"/>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0" baseline="0" dirty="0" smtClean="0">
                <a:solidFill>
                  <a:schemeClr val="tx1"/>
                </a:solidFill>
              </a:rPr>
              <a:t>We’ve looked at several factors other than agronomic potential which will enable or constrain each country’s growth potential.  The key is to be present and prepared when those elements come together. </a:t>
            </a:r>
            <a:r>
              <a:rPr lang="en-US" dirty="0" smtClean="0"/>
              <a:t>Now we’d like to take an example</a:t>
            </a:r>
            <a:r>
              <a:rPr lang="en-US" baseline="0" dirty="0" smtClean="0"/>
              <a:t> of 2 countries </a:t>
            </a:r>
            <a:r>
              <a:rPr lang="en-US" i="1" baseline="0" dirty="0" smtClean="0"/>
              <a:t>– hand to Len.</a:t>
            </a:r>
            <a:endParaRPr lang="en-US" i="1" dirty="0" smtClean="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25</a:t>
            </a:fld>
            <a:endParaRPr lang="en-US" dirty="0"/>
          </a:p>
        </p:txBody>
      </p:sp>
    </p:spTree>
    <p:extLst>
      <p:ext uri="{BB962C8B-B14F-4D97-AF65-F5344CB8AC3E}">
        <p14:creationId xmlns:p14="http://schemas.microsoft.com/office/powerpoint/2010/main" xmlns="" val="722316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p>
            <a:fld id="{7942387F-D911-47BC-9852-498A3A84C6BC}" type="slidenum">
              <a:rPr lang="en-US" smtClean="0"/>
              <a:pPr/>
              <a:t>4</a:t>
            </a:fld>
            <a:endParaRPr lang="en-US" smtClean="0"/>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r>
              <a:rPr lang="en-US" dirty="0" smtClean="0"/>
              <a:t>Last Checked: 4/16/2013</a:t>
            </a:r>
          </a:p>
          <a:p>
            <a:pPr eaLnBrk="1" hangingPunct="1"/>
            <a:r>
              <a:rPr lang="en-US" dirty="0" smtClean="0"/>
              <a:t>Frequency: WEO database is release each </a:t>
            </a:r>
            <a:r>
              <a:rPr lang="en-US" b="1" dirty="0" smtClean="0"/>
              <a:t>April</a:t>
            </a:r>
            <a:r>
              <a:rPr lang="en-US" dirty="0" smtClean="0"/>
              <a:t> and </a:t>
            </a:r>
            <a:r>
              <a:rPr lang="en-US" b="1" dirty="0" smtClean="0"/>
              <a:t>October</a:t>
            </a:r>
            <a:r>
              <a:rPr lang="en-US" dirty="0" smtClean="0"/>
              <a:t> (twice a year) – updated in January and June/July</a:t>
            </a:r>
          </a:p>
          <a:p>
            <a:pPr eaLnBrk="1" hangingPunct="1"/>
            <a:r>
              <a:rPr lang="en-US" dirty="0" smtClean="0"/>
              <a:t>Data Source: IMF, World Economic Outlook Update, Oct. 2012</a:t>
            </a:r>
          </a:p>
          <a:p>
            <a:pPr eaLnBrk="1" hangingPunct="1"/>
            <a:endParaRPr lang="en-US" dirty="0" smtClean="0"/>
          </a:p>
          <a:p>
            <a:pPr eaLnBrk="1" hangingPunct="1"/>
            <a:r>
              <a:rPr lang="en-US" dirty="0" smtClean="0"/>
              <a:t>Site:  </a:t>
            </a:r>
            <a:r>
              <a:rPr lang="en-US" dirty="0" smtClean="0">
                <a:hlinkClick r:id="rId3" tooltip="http://www.imf.org/external/ns/cs.aspx?id=28"/>
              </a:rPr>
              <a:t>http://www.imf.org/external/ns/cs.aspx?id=28</a:t>
            </a:r>
            <a:r>
              <a:rPr lang="en-US" dirty="0" smtClean="0"/>
              <a:t> </a:t>
            </a:r>
          </a:p>
          <a:p>
            <a:pPr eaLnBrk="1" hangingPunct="1"/>
            <a:r>
              <a:rPr lang="en-US" dirty="0" smtClean="0"/>
              <a:t>Data File:  JBP Presentations\Data\Current\IMF GDP.v2.xlsx</a:t>
            </a:r>
          </a:p>
          <a:p>
            <a:pPr eaLnBrk="1" hangingPunct="1"/>
            <a:endParaRPr lang="en-US" dirty="0" smtClean="0"/>
          </a:p>
          <a:p>
            <a:pPr eaLnBrk="1" hangingPunct="1"/>
            <a:r>
              <a:rPr lang="en-US" dirty="0" smtClean="0"/>
              <a:t>Instructions:</a:t>
            </a:r>
          </a:p>
          <a:p>
            <a:pPr eaLnBrk="1" hangingPunct="1"/>
            <a:r>
              <a:rPr lang="en-US" dirty="0" smtClean="0"/>
              <a:t>1. Visit IMF Website: http://www.imf.org/external/ns/cs.aspx?id=28</a:t>
            </a:r>
          </a:p>
          <a:p>
            <a:pPr eaLnBrk="1" hangingPunct="1"/>
            <a:r>
              <a:rPr lang="en-US" dirty="0" smtClean="0"/>
              <a:t>2. Select Country Groups</a:t>
            </a:r>
          </a:p>
          <a:p>
            <a:pPr eaLnBrk="1" hangingPunct="1"/>
            <a:r>
              <a:rPr lang="en-US" dirty="0" smtClean="0"/>
              <a:t>3. Select World (might as well download World, EU, Africa, Central &amp; Eastern Europe, Commonwealth of Mongolia, Developing Asia, Middle East, Western Hemisphere)</a:t>
            </a:r>
          </a:p>
          <a:p>
            <a:pPr eaLnBrk="1" hangingPunct="1"/>
            <a:r>
              <a:rPr lang="en-US" dirty="0" smtClean="0"/>
              <a:t>4. Select the first option of GDP constant prices, annual percent change</a:t>
            </a:r>
          </a:p>
          <a:p>
            <a:pPr eaLnBrk="1" hangingPunct="1"/>
            <a:r>
              <a:rPr lang="en-US" dirty="0" smtClean="0"/>
              <a:t>5. Select the appropriate years and hit produce report</a:t>
            </a:r>
          </a:p>
          <a:p>
            <a:pPr eaLnBrk="1" hangingPunct="1"/>
            <a:endParaRPr lang="en-US" dirty="0" smtClean="0"/>
          </a:p>
          <a:p>
            <a:pPr eaLnBrk="1" hangingPunct="1"/>
            <a:endParaRPr lang="en-US" dirty="0" smtClean="0"/>
          </a:p>
          <a:p>
            <a:pPr eaLnBrk="1" hangingPunct="1"/>
            <a:r>
              <a:rPr lang="en-US" dirty="0" smtClean="0"/>
              <a:t>Amended Instructions:</a:t>
            </a:r>
          </a:p>
          <a:p>
            <a:pPr eaLnBrk="1" hangingPunct="1"/>
            <a:r>
              <a:rPr lang="en-US" dirty="0" smtClean="0"/>
              <a:t> - Download GDP annual percent change, constant prices for:</a:t>
            </a:r>
          </a:p>
          <a:p>
            <a:pPr eaLnBrk="1" hangingPunct="1"/>
            <a:r>
              <a:rPr lang="en-US" dirty="0" smtClean="0"/>
              <a:t>	- All regions/Groups</a:t>
            </a:r>
          </a:p>
          <a:p>
            <a:pPr eaLnBrk="1" hangingPunct="1"/>
            <a:r>
              <a:rPr lang="en-US" dirty="0" smtClean="0"/>
              <a:t>	- All countries</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E40456B-61A2-45EA-A7D9-9D7AA9A61494}" type="slidenum">
              <a:rPr lang="en-US" smtClean="0"/>
              <a:pPr/>
              <a:t>26</a:t>
            </a:fld>
            <a:endParaRPr lang="en-US"/>
          </a:p>
        </p:txBody>
      </p:sp>
    </p:spTree>
    <p:extLst>
      <p:ext uri="{BB962C8B-B14F-4D97-AF65-F5344CB8AC3E}">
        <p14:creationId xmlns:p14="http://schemas.microsoft.com/office/powerpoint/2010/main" xmlns="" val="3812179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p>
            <a:fld id="{4BB63B46-962A-43B6-8E1B-8AA2BC5D02AE}" type="slidenum">
              <a:rPr lang="en-US" smtClean="0"/>
              <a:pPr/>
              <a:t>5</a:t>
            </a:fld>
            <a:endParaRPr lang="en-US" smtClean="0"/>
          </a:p>
        </p:txBody>
      </p:sp>
      <p:sp>
        <p:nvSpPr>
          <p:cNvPr id="105475" name="Rectangle 2"/>
          <p:cNvSpPr>
            <a:spLocks noGrp="1" noRot="1" noChangeAspect="1" noChangeArrowheads="1" noTextEdit="1"/>
          </p:cNvSpPr>
          <p:nvPr>
            <p:ph type="sldImg"/>
          </p:nvPr>
        </p:nvSpPr>
        <p:spPr>
          <a:ln/>
        </p:spPr>
      </p:sp>
      <p:sp>
        <p:nvSpPr>
          <p:cNvPr id="105476" name="Rectangle 3"/>
          <p:cNvSpPr>
            <a:spLocks noGrp="1" noChangeArrowheads="1"/>
          </p:cNvSpPr>
          <p:nvPr>
            <p:ph type="body" idx="1"/>
          </p:nvPr>
        </p:nvSpPr>
        <p:spPr>
          <a:noFill/>
          <a:ln/>
        </p:spPr>
        <p:txBody>
          <a:bodyPr/>
          <a:lstStyle/>
          <a:p>
            <a:pPr eaLnBrk="1" hangingPunct="1"/>
            <a:r>
              <a:rPr lang="en-US" dirty="0" smtClean="0"/>
              <a:t>Spreadsheet – population for </a:t>
            </a:r>
            <a:r>
              <a:rPr lang="en-US" dirty="0" err="1" smtClean="0"/>
              <a:t>ppt</a:t>
            </a:r>
            <a:r>
              <a:rPr lang="en-US" dirty="0" smtClean="0"/>
              <a:t> – under Population folder on shared drive</a:t>
            </a:r>
          </a:p>
          <a:p>
            <a:pPr eaLnBrk="1" hangingPunct="1"/>
            <a:r>
              <a:rPr lang="en-US" dirty="0" smtClean="0"/>
              <a:t>Spreadsheet should automatically update after 1</a:t>
            </a:r>
            <a:r>
              <a:rPr lang="en-US" baseline="30000" dirty="0" smtClean="0"/>
              <a:t>st</a:t>
            </a:r>
            <a:r>
              <a:rPr lang="en-US" dirty="0" smtClean="0"/>
              <a:t> population spreadsheet is updated.</a:t>
            </a:r>
          </a:p>
          <a:p>
            <a:pPr eaLnBrk="1" hangingPunct="1"/>
            <a:endParaRPr lang="en-US" dirty="0" smtClean="0"/>
          </a:p>
          <a:p>
            <a:pPr eaLnBrk="1" hangingPunct="1"/>
            <a:r>
              <a:rPr lang="en-US" dirty="0" smtClean="0"/>
              <a:t>Last Checked:	5/5/11 </a:t>
            </a:r>
          </a:p>
          <a:p>
            <a:pPr eaLnBrk="1" hangingPunct="1"/>
            <a:r>
              <a:rPr lang="en-US" dirty="0" smtClean="0"/>
              <a:t>Frequency:  		Every 2 years, in March-May timeframe</a:t>
            </a:r>
          </a:p>
          <a:p>
            <a:pPr eaLnBrk="1" hangingPunct="1"/>
            <a:r>
              <a:rPr lang="en-US" dirty="0" smtClean="0"/>
              <a:t>Source/Report: 	United Nations, World Population Database – 2010 Revision</a:t>
            </a:r>
          </a:p>
          <a:p>
            <a:pPr eaLnBrk="1" hangingPunct="1"/>
            <a:r>
              <a:rPr lang="en-US" dirty="0" smtClean="0"/>
              <a:t>Website last updated:	May 3, 2011</a:t>
            </a:r>
          </a:p>
          <a:p>
            <a:pPr eaLnBrk="1" hangingPunct="1"/>
            <a:endParaRPr lang="en-US" dirty="0" smtClean="0"/>
          </a:p>
          <a:p>
            <a:pPr eaLnBrk="1" hangingPunct="1"/>
            <a:r>
              <a:rPr lang="en-US" dirty="0" smtClean="0"/>
              <a:t>Site:  http://esa.un.org/unpp/</a:t>
            </a:r>
          </a:p>
          <a:p>
            <a:pPr eaLnBrk="1" hangingPunct="1"/>
            <a:r>
              <a:rPr lang="en-US" dirty="0" smtClean="0"/>
              <a:t>Data File Name:  population for </a:t>
            </a:r>
            <a:r>
              <a:rPr lang="en-US" dirty="0" err="1" smtClean="0"/>
              <a:t>ppt</a:t>
            </a:r>
            <a:r>
              <a:rPr lang="en-US" dirty="0" smtClean="0"/>
              <a:t> – under Population folder on shared drive</a:t>
            </a:r>
          </a:p>
          <a:p>
            <a:pPr eaLnBrk="1" hangingPunct="1"/>
            <a:endParaRPr lang="en-US" dirty="0" smtClean="0"/>
          </a:p>
          <a:p>
            <a:pPr eaLnBrk="1" hangingPunct="1"/>
            <a:r>
              <a:rPr lang="en-US" dirty="0" smtClean="0"/>
              <a:t>Instructions:</a:t>
            </a:r>
          </a:p>
          <a:p>
            <a:pPr eaLnBrk="1" hangingPunct="1"/>
            <a:r>
              <a:rPr lang="en-US" dirty="0" smtClean="0"/>
              <a:t>Spreadsheet should automatically pull from updated UN Population spreadsheet.</a:t>
            </a:r>
          </a:p>
          <a:p>
            <a:pPr eaLnBrk="1" hangingPunct="1">
              <a:buFontTx/>
              <a:buChar char="•"/>
            </a:pPr>
            <a:r>
              <a:rPr lang="en-US" dirty="0" smtClean="0"/>
              <a:t>Update links on the following 2 hidden slides.</a:t>
            </a:r>
          </a:p>
          <a:p>
            <a:pPr eaLnBrk="1" hangingPunct="1">
              <a:buFontTx/>
              <a:buChar char="•"/>
            </a:pPr>
            <a:r>
              <a:rPr lang="en-US" dirty="0" smtClean="0"/>
              <a:t>Regularly copy/paste from following 2 hidden slides.</a:t>
            </a:r>
          </a:p>
          <a:p>
            <a:pPr eaLnBrk="1" hangingPunct="1">
              <a:buFontTx/>
              <a:buChar char="•"/>
            </a:pPr>
            <a:r>
              <a:rPr lang="en-US" dirty="0" smtClean="0"/>
              <a:t>Manually update data tables.</a:t>
            </a:r>
          </a:p>
          <a:p>
            <a:pPr eaLnBrk="1" hangingPunct="1">
              <a:buFontTx/>
              <a:buChar char="•"/>
            </a:pPr>
            <a:endParaRPr lang="en-US" dirty="0" smtClean="0"/>
          </a:p>
          <a:p>
            <a:pPr eaLnBrk="1" hangingPunct="1"/>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p:spPr>
        <p:txBody>
          <a:bodyPr/>
          <a:lstStyle/>
          <a:p>
            <a:fld id="{82201BBE-2A67-4D53-B41E-9826A2D1288D}" type="slidenum">
              <a:rPr lang="en-US" smtClean="0"/>
              <a:pPr/>
              <a:t>6</a:t>
            </a:fld>
            <a:endParaRPr lang="en-US" smtClean="0"/>
          </a:p>
        </p:txBody>
      </p:sp>
      <p:sp>
        <p:nvSpPr>
          <p:cNvPr id="159747" name="Rectangle 2"/>
          <p:cNvSpPr>
            <a:spLocks noGrp="1" noRot="1" noChangeAspect="1" noChangeArrowheads="1" noTextEdit="1"/>
          </p:cNvSpPr>
          <p:nvPr>
            <p:ph type="sldImg"/>
          </p:nvPr>
        </p:nvSpPr>
        <p:spPr>
          <a:ln/>
        </p:spPr>
      </p:sp>
      <p:sp>
        <p:nvSpPr>
          <p:cNvPr id="159748" name="Rectangle 3"/>
          <p:cNvSpPr>
            <a:spLocks noGrp="1" noChangeArrowheads="1"/>
          </p:cNvSpPr>
          <p:nvPr>
            <p:ph type="body" idx="1"/>
          </p:nvPr>
        </p:nvSpPr>
        <p:spPr>
          <a:xfrm>
            <a:off x="622300" y="4416425"/>
            <a:ext cx="5921375" cy="4699000"/>
          </a:xfrm>
          <a:noFill/>
          <a:ln/>
        </p:spPr>
        <p:txBody>
          <a:bodyPr/>
          <a:lstStyle/>
          <a:p>
            <a:pPr marL="227013" indent="-227013" eaLnBrk="1" hangingPunct="1"/>
            <a:r>
              <a:rPr lang="en-US" sz="1000" dirty="0" smtClean="0"/>
              <a:t>Data based on</a:t>
            </a:r>
            <a:r>
              <a:rPr lang="en-US" sz="1000" baseline="0" dirty="0" smtClean="0"/>
              <a:t> 5/10/13 </a:t>
            </a:r>
            <a:r>
              <a:rPr lang="en-US" sz="1000" dirty="0" smtClean="0"/>
              <a:t>Grains release of data in the PSD database (updated monthly around between 10</a:t>
            </a:r>
            <a:r>
              <a:rPr lang="en-US" sz="1000" baseline="30000" dirty="0" smtClean="0"/>
              <a:t>th</a:t>
            </a:r>
            <a:r>
              <a:rPr lang="en-US" sz="1000" dirty="0" smtClean="0"/>
              <a:t> and 12</a:t>
            </a:r>
            <a:r>
              <a:rPr lang="en-US" sz="1000" baseline="30000" dirty="0" smtClean="0"/>
              <a:t>th</a:t>
            </a:r>
            <a:r>
              <a:rPr lang="en-US" sz="1000" dirty="0" smtClean="0"/>
              <a:t> of month)</a:t>
            </a:r>
          </a:p>
          <a:p>
            <a:pPr marL="227013" indent="-227013" eaLnBrk="1" hangingPunct="1"/>
            <a:endParaRPr lang="en-US" sz="1000" dirty="0" smtClean="0"/>
          </a:p>
          <a:p>
            <a:pPr marL="227013" indent="-227013" eaLnBrk="1" hangingPunct="1"/>
            <a:r>
              <a:rPr lang="en-US" sz="1000" dirty="0" smtClean="0"/>
              <a:t>Website to download data is the USDA production, supply and distribution database.  Perform a custom query and select the grains identified below: http://www.fas.usda.gov/psdonline/psdQuery.aspx</a:t>
            </a:r>
          </a:p>
          <a:p>
            <a:pPr marL="227013" indent="-227013" eaLnBrk="1" hangingPunct="1"/>
            <a:endParaRPr lang="en-US" sz="1000" dirty="0" smtClean="0"/>
          </a:p>
          <a:p>
            <a:pPr marL="227013" indent="-227013" eaLnBrk="1" hangingPunct="1">
              <a:buFontTx/>
              <a:buAutoNum type="arabicPeriod"/>
            </a:pPr>
            <a:r>
              <a:rPr lang="en-US" sz="1000" dirty="0" smtClean="0"/>
              <a:t>Select grains and </a:t>
            </a:r>
            <a:r>
              <a:rPr lang="en-US" sz="1000" i="1" dirty="0" smtClean="0"/>
              <a:t>pulses</a:t>
            </a:r>
            <a:r>
              <a:rPr lang="en-US" sz="1000" dirty="0" smtClean="0"/>
              <a:t> under the commodity filter</a:t>
            </a:r>
          </a:p>
          <a:p>
            <a:pPr marL="227013" indent="-227013" eaLnBrk="1" hangingPunct="1">
              <a:buFontTx/>
              <a:buAutoNum type="arabicPeriod"/>
            </a:pPr>
            <a:r>
              <a:rPr lang="en-US" sz="1000" dirty="0" smtClean="0"/>
              <a:t>Select the first nine grains including Barley, Corn, Millett, Mixed Grain, Oats, Rice (milled), Rye, Sorghum, Wheat – only skipping the last grain of “wheat – durum”.  Click the summarize button</a:t>
            </a:r>
          </a:p>
          <a:p>
            <a:pPr marL="227013" indent="-227013" eaLnBrk="1" hangingPunct="1">
              <a:buFontTx/>
              <a:buAutoNum type="arabicPeriod"/>
            </a:pPr>
            <a:r>
              <a:rPr lang="en-US" sz="1000" dirty="0" smtClean="0"/>
              <a:t>Select production and domestic consumption (select Ending Stocks as well to get all data for next slide).</a:t>
            </a:r>
          </a:p>
          <a:p>
            <a:pPr marL="227013" indent="-227013" eaLnBrk="1" hangingPunct="1">
              <a:buFontTx/>
              <a:buAutoNum type="arabicPeriod"/>
            </a:pPr>
            <a:r>
              <a:rPr lang="en-US" sz="1000" dirty="0" smtClean="0"/>
              <a:t>Select “World Total” </a:t>
            </a:r>
          </a:p>
          <a:p>
            <a:pPr marL="227013" indent="-227013" eaLnBrk="1" hangingPunct="1">
              <a:buFontTx/>
              <a:buAutoNum type="arabicPeriod"/>
            </a:pPr>
            <a:r>
              <a:rPr lang="en-US" sz="1000" dirty="0" smtClean="0"/>
              <a:t>Select the desired years</a:t>
            </a:r>
          </a:p>
          <a:p>
            <a:pPr marL="227013" indent="-227013" eaLnBrk="1" hangingPunct="1">
              <a:buFontTx/>
              <a:buAutoNum type="arabicPeriod"/>
            </a:pPr>
            <a:r>
              <a:rPr lang="en-US" sz="1000" dirty="0" smtClean="0"/>
              <a:t>Export data to Excel and copy and paste updated data into existing file</a:t>
            </a:r>
          </a:p>
          <a:p>
            <a:pPr marL="227013" indent="-227013" eaLnBrk="1" hangingPunct="1"/>
            <a:endParaRPr lang="en-US" sz="1000" dirty="0" smtClean="0"/>
          </a:p>
          <a:p>
            <a:pPr marL="227013" indent="-227013" eaLnBrk="1" hangingPunct="1"/>
            <a:r>
              <a:rPr lang="en-US" sz="1000" dirty="0" smtClean="0"/>
              <a:t>Upcoming Releases of data:</a:t>
            </a:r>
          </a:p>
          <a:p>
            <a:pPr marL="227013" indent="-227013" eaLnBrk="1" hangingPunct="1"/>
            <a:r>
              <a:rPr lang="en-US" sz="1000" dirty="0" smtClean="0"/>
              <a:t>Sept 10, 2010 9:00 AM Grains: Production Supply and Distribution</a:t>
            </a:r>
          </a:p>
          <a:p>
            <a:pPr marL="227013" indent="-227013" eaLnBrk="1" hangingPunct="1"/>
            <a:r>
              <a:rPr lang="en-US" sz="1000" dirty="0" smtClean="0"/>
              <a:t>Oct</a:t>
            </a:r>
            <a:r>
              <a:rPr lang="en-US" sz="1000" baseline="0" dirty="0" smtClean="0"/>
              <a:t> 8</a:t>
            </a:r>
            <a:r>
              <a:rPr lang="en-US" sz="1000" dirty="0" smtClean="0"/>
              <a:t>, 2010  9:00 AM Grains: Production Supply and Distribution</a:t>
            </a:r>
          </a:p>
          <a:p>
            <a:pPr marL="227013" indent="-227013" eaLnBrk="1" hangingPunct="1"/>
            <a:r>
              <a:rPr lang="en-US" sz="1000" dirty="0" smtClean="0"/>
              <a:t>Nov 9, 2010  9:00 AM Grains: Production Supply and Distribution</a:t>
            </a:r>
          </a:p>
          <a:p>
            <a:pPr marL="227013" indent="-227013" eaLnBrk="1" hangingPunct="1"/>
            <a:endParaRPr lang="en-US" sz="1000" dirty="0" smtClean="0"/>
          </a:p>
          <a:p>
            <a:pPr marL="227013" indent="-227013" eaLnBrk="1" hangingPunct="1"/>
            <a:r>
              <a:rPr lang="en-US" sz="1000" dirty="0" smtClean="0"/>
              <a:t>Complete schedule of releases:</a:t>
            </a:r>
          </a:p>
          <a:p>
            <a:pPr marL="227013" indent="-227013" eaLnBrk="1" hangingPunct="1"/>
            <a:r>
              <a:rPr lang="en-US" sz="1000" dirty="0" smtClean="0"/>
              <a:t>http://www.fas.usda.gov/psdonline/psdSchedule.aspx</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77500" lnSpcReduction="20000"/>
          </a:bodyPr>
          <a:lstStyle/>
          <a:p>
            <a:pPr eaLnBrk="1" hangingPunct="1">
              <a:defRPr/>
            </a:pPr>
            <a:endParaRPr lang="en-US" dirty="0" smtClean="0"/>
          </a:p>
        </p:txBody>
      </p:sp>
      <p:sp>
        <p:nvSpPr>
          <p:cNvPr id="169988" name="Slide Number Placeholder 3"/>
          <p:cNvSpPr>
            <a:spLocks noGrp="1"/>
          </p:cNvSpPr>
          <p:nvPr>
            <p:ph type="sldNum" sz="quarter" idx="5"/>
          </p:nvPr>
        </p:nvSpPr>
        <p:spPr>
          <a:noFill/>
        </p:spPr>
        <p:txBody>
          <a:bodyPr/>
          <a:lstStyle/>
          <a:p>
            <a:fld id="{F3ABE596-C02C-4F26-A22A-309C47C916A5}" type="slidenum">
              <a:rPr lang="en-US" smtClean="0"/>
              <a:pPr/>
              <a:t>7</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7"/>
          <p:cNvSpPr txBox="1">
            <a:spLocks noGrp="1" noChangeArrowheads="1"/>
          </p:cNvSpPr>
          <p:nvPr/>
        </p:nvSpPr>
        <p:spPr bwMode="auto">
          <a:xfrm>
            <a:off x="3969315" y="8829675"/>
            <a:ext cx="3039463" cy="465138"/>
          </a:xfrm>
          <a:prstGeom prst="rect">
            <a:avLst/>
          </a:prstGeom>
          <a:noFill/>
          <a:ln w="9525">
            <a:noFill/>
            <a:miter lim="800000"/>
            <a:headEnd/>
            <a:tailEnd/>
          </a:ln>
        </p:spPr>
        <p:txBody>
          <a:bodyPr lIns="92293" tIns="46147" rIns="92293" bIns="46147" anchor="b"/>
          <a:lstStyle/>
          <a:p>
            <a:pPr algn="r" defTabSz="904875"/>
            <a:fld id="{08A80076-4082-4A9D-9845-A892C381FBEA}" type="slidenum">
              <a:rPr lang="en-US" sz="1200">
                <a:latin typeface="Calibri" pitchFamily="34" charset="0"/>
              </a:rPr>
              <a:pPr algn="r" defTabSz="904875"/>
              <a:t>8</a:t>
            </a:fld>
            <a:endParaRPr lang="en-US" sz="1200">
              <a:latin typeface="Calibri" pitchFamily="34" charset="0"/>
            </a:endParaRPr>
          </a:p>
        </p:txBody>
      </p:sp>
      <p:sp>
        <p:nvSpPr>
          <p:cNvPr id="308227" name="Rectangle 2"/>
          <p:cNvSpPr>
            <a:spLocks noGrp="1" noRot="1" noChangeAspect="1" noChangeArrowheads="1" noTextEdit="1"/>
          </p:cNvSpPr>
          <p:nvPr>
            <p:ph type="sldImg"/>
          </p:nvPr>
        </p:nvSpPr>
        <p:spPr bwMode="auto">
          <a:xfrm>
            <a:off x="784225" y="584200"/>
            <a:ext cx="5451475" cy="4089400"/>
          </a:xfrm>
          <a:noFill/>
          <a:ln>
            <a:solidFill>
              <a:srgbClr val="000000"/>
            </a:solidFill>
            <a:miter lim="800000"/>
            <a:headEnd/>
            <a:tailEnd/>
          </a:ln>
        </p:spPr>
      </p:sp>
      <p:sp>
        <p:nvSpPr>
          <p:cNvPr id="308228" name="Rectangle 3"/>
          <p:cNvSpPr>
            <a:spLocks noGrp="1" noChangeArrowheads="1"/>
          </p:cNvSpPr>
          <p:nvPr>
            <p:ph type="body" idx="1"/>
          </p:nvPr>
        </p:nvSpPr>
        <p:spPr bwMode="auto">
          <a:xfrm>
            <a:off x="564726" y="4992689"/>
            <a:ext cx="5979937" cy="219075"/>
          </a:xfrm>
          <a:noFill/>
        </p:spPr>
        <p:txBody>
          <a:bodyPr wrap="square" lIns="92293" tIns="46147" rIns="92293" bIns="46147" numCol="1" anchor="t" anchorCtr="0" compatLnSpc="1">
            <a:prstTxWarp prst="textNoShape">
              <a:avLst/>
            </a:prstTxWarp>
          </a:bodyPr>
          <a:lstStyle/>
          <a:p>
            <a:pPr defTabSz="912813">
              <a:spcBef>
                <a:spcPct val="0"/>
              </a:spcBef>
            </a:pPr>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7"/>
          <p:cNvSpPr txBox="1">
            <a:spLocks noGrp="1" noChangeArrowheads="1"/>
          </p:cNvSpPr>
          <p:nvPr/>
        </p:nvSpPr>
        <p:spPr bwMode="auto">
          <a:xfrm>
            <a:off x="3969315" y="8829675"/>
            <a:ext cx="3039463" cy="465138"/>
          </a:xfrm>
          <a:prstGeom prst="rect">
            <a:avLst/>
          </a:prstGeom>
          <a:noFill/>
          <a:ln w="9525">
            <a:noFill/>
            <a:miter lim="800000"/>
            <a:headEnd/>
            <a:tailEnd/>
          </a:ln>
        </p:spPr>
        <p:txBody>
          <a:bodyPr lIns="92293" tIns="46147" rIns="92293" bIns="46147" anchor="b"/>
          <a:lstStyle/>
          <a:p>
            <a:pPr algn="r" defTabSz="904875"/>
            <a:fld id="{08A80076-4082-4A9D-9845-A892C381FBEA}" type="slidenum">
              <a:rPr lang="en-US" sz="1200">
                <a:latin typeface="Calibri" pitchFamily="34" charset="0"/>
              </a:rPr>
              <a:pPr algn="r" defTabSz="904875"/>
              <a:t>9</a:t>
            </a:fld>
            <a:endParaRPr lang="en-US" sz="1200">
              <a:latin typeface="Calibri" pitchFamily="34" charset="0"/>
            </a:endParaRPr>
          </a:p>
        </p:txBody>
      </p:sp>
      <p:sp>
        <p:nvSpPr>
          <p:cNvPr id="308227" name="Rectangle 2"/>
          <p:cNvSpPr>
            <a:spLocks noGrp="1" noRot="1" noChangeAspect="1" noChangeArrowheads="1" noTextEdit="1"/>
          </p:cNvSpPr>
          <p:nvPr>
            <p:ph type="sldImg"/>
          </p:nvPr>
        </p:nvSpPr>
        <p:spPr bwMode="auto">
          <a:xfrm>
            <a:off x="784225" y="584200"/>
            <a:ext cx="5451475" cy="4089400"/>
          </a:xfrm>
          <a:noFill/>
          <a:ln>
            <a:solidFill>
              <a:srgbClr val="000000"/>
            </a:solidFill>
            <a:miter lim="800000"/>
            <a:headEnd/>
            <a:tailEnd/>
          </a:ln>
        </p:spPr>
      </p:sp>
      <p:sp>
        <p:nvSpPr>
          <p:cNvPr id="308228" name="Rectangle 3"/>
          <p:cNvSpPr>
            <a:spLocks noGrp="1" noChangeArrowheads="1"/>
          </p:cNvSpPr>
          <p:nvPr>
            <p:ph type="body" idx="1"/>
          </p:nvPr>
        </p:nvSpPr>
        <p:spPr bwMode="auto">
          <a:xfrm>
            <a:off x="564726" y="4992689"/>
            <a:ext cx="5979937" cy="219075"/>
          </a:xfrm>
          <a:noFill/>
        </p:spPr>
        <p:txBody>
          <a:bodyPr wrap="square" lIns="92293" tIns="46147" rIns="92293" bIns="46147" numCol="1" anchor="t" anchorCtr="0" compatLnSpc="1">
            <a:prstTxWarp prst="textNoShape">
              <a:avLst/>
            </a:prstTxWarp>
          </a:bodyPr>
          <a:lstStyle/>
          <a:p>
            <a:pPr defTabSz="912813">
              <a:spcBef>
                <a:spcPct val="0"/>
              </a:spcBef>
            </a:pPr>
            <a:endParaRPr lang="en-GB"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le:  Crop Production Value.xls</a:t>
            </a:r>
          </a:p>
          <a:p>
            <a:r>
              <a:rPr lang="en-US" dirty="0" smtClean="0"/>
              <a:t>Source,</a:t>
            </a:r>
            <a:r>
              <a:rPr lang="en-US" baseline="0" dirty="0" smtClean="0"/>
              <a:t> FAO</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0</a:t>
            </a:fld>
            <a:endParaRPr lang="en-US" dirty="0"/>
          </a:p>
        </p:txBody>
      </p:sp>
    </p:spTree>
    <p:extLst>
      <p:ext uri="{BB962C8B-B14F-4D97-AF65-F5344CB8AC3E}">
        <p14:creationId xmlns:p14="http://schemas.microsoft.com/office/powerpoint/2010/main" xmlns="" val="8626140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of chart:  Key Crop Summary.xls, Tab:</a:t>
            </a:r>
            <a:r>
              <a:rPr lang="en-US" baseline="0" dirty="0" smtClean="0"/>
              <a:t> Top 18 country harvest area</a:t>
            </a:r>
            <a:endParaRPr lang="en-US" dirty="0"/>
          </a:p>
        </p:txBody>
      </p:sp>
      <p:sp>
        <p:nvSpPr>
          <p:cNvPr id="4" name="Slide Number Placeholder 3"/>
          <p:cNvSpPr>
            <a:spLocks noGrp="1"/>
          </p:cNvSpPr>
          <p:nvPr>
            <p:ph type="sldNum" sz="quarter" idx="10"/>
          </p:nvPr>
        </p:nvSpPr>
        <p:spPr/>
        <p:txBody>
          <a:bodyPr/>
          <a:lstStyle/>
          <a:p>
            <a:pPr>
              <a:defRPr/>
            </a:pPr>
            <a:fld id="{2DD00360-1142-41BB-B675-4ECD2A305884}" type="slidenum">
              <a:rPr lang="en-US" smtClean="0"/>
              <a:pPr>
                <a:defRPr/>
              </a:pPr>
              <a:t>11</a:t>
            </a:fld>
            <a:endParaRPr lang="en-US" dirty="0"/>
          </a:p>
        </p:txBody>
      </p:sp>
    </p:spTree>
    <p:extLst>
      <p:ext uri="{BB962C8B-B14F-4D97-AF65-F5344CB8AC3E}">
        <p14:creationId xmlns:p14="http://schemas.microsoft.com/office/powerpoint/2010/main" xmlns="" val="1038456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xmlns="" val="736717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493410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92100"/>
            <a:ext cx="2055813" cy="57562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92100"/>
            <a:ext cx="6019800" cy="57562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52491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 name="Picture 8" descr="FatherSon_StepUp.JPG"/>
          <p:cNvPicPr>
            <a:picLocks noChangeAspect="1"/>
          </p:cNvPicPr>
          <p:nvPr userDrawn="1"/>
        </p:nvPicPr>
        <p:blipFill>
          <a:blip r:embed="rId2" cstate="print"/>
          <a:srcRect b="8475"/>
          <a:stretch>
            <a:fillRect/>
          </a:stretch>
        </p:blipFill>
        <p:spPr>
          <a:xfrm>
            <a:off x="-2553" y="581232"/>
            <a:ext cx="9144000" cy="6276768"/>
          </a:xfrm>
          <a:prstGeom prst="rect">
            <a:avLst/>
          </a:prstGeom>
          <a:noFill/>
          <a:ln>
            <a:noFill/>
          </a:ln>
        </p:spPr>
      </p:pic>
      <p:pic>
        <p:nvPicPr>
          <p:cNvPr id="16" name="Picture 15" descr="JD_Gray_Gradient_10x1-4in.png"/>
          <p:cNvPicPr>
            <a:picLocks/>
          </p:cNvPicPr>
          <p:nvPr userDrawn="1"/>
        </p:nvPicPr>
        <p:blipFill>
          <a:blip r:embed="rId3"/>
          <a:stretch>
            <a:fillRect/>
          </a:stretch>
        </p:blipFill>
        <p:spPr>
          <a:xfrm>
            <a:off x="377" y="-1"/>
            <a:ext cx="9143245" cy="1318456"/>
          </a:xfrm>
          <a:prstGeom prst="rect">
            <a:avLst/>
          </a:prstGeom>
        </p:spPr>
      </p:pic>
      <p:pic>
        <p:nvPicPr>
          <p:cNvPr id="17" name="Picture 19" descr="JD_gy_RGB_screen_h"/>
          <p:cNvPicPr>
            <a:picLocks noChangeAspect="1" noChangeArrowheads="1"/>
          </p:cNvPicPr>
          <p:nvPr userDrawn="1"/>
        </p:nvPicPr>
        <p:blipFill>
          <a:blip r:embed="rId4"/>
          <a:stretch>
            <a:fillRect/>
          </a:stretch>
        </p:blipFill>
        <p:spPr bwMode="auto">
          <a:xfrm>
            <a:off x="6693049" y="581232"/>
            <a:ext cx="2148844" cy="658369"/>
          </a:xfrm>
          <a:prstGeom prst="rect">
            <a:avLst/>
          </a:prstGeom>
          <a:noFill/>
        </p:spPr>
      </p:pic>
      <p:pic>
        <p:nvPicPr>
          <p:cNvPr id="18" name="Picture 17" descr="JD_bar_gy_4c_10in.png"/>
          <p:cNvPicPr>
            <a:picLocks noChangeAspect="1"/>
          </p:cNvPicPr>
          <p:nvPr userDrawn="1"/>
        </p:nvPicPr>
        <p:blipFill>
          <a:blip r:embed="rId5"/>
          <a:stretch>
            <a:fillRect/>
          </a:stretch>
        </p:blipFill>
        <p:spPr>
          <a:xfrm>
            <a:off x="-378" y="1312777"/>
            <a:ext cx="9144000" cy="228600"/>
          </a:xfrm>
          <a:prstGeom prst="rect">
            <a:avLst/>
          </a:prstGeom>
        </p:spPr>
      </p:pic>
      <p:sp>
        <p:nvSpPr>
          <p:cNvPr id="2" name="Title 1"/>
          <p:cNvSpPr>
            <a:spLocks noGrp="1"/>
          </p:cNvSpPr>
          <p:nvPr userDrawn="1">
            <p:ph type="ctrTitle"/>
          </p:nvPr>
        </p:nvSpPr>
        <p:spPr>
          <a:xfrm>
            <a:off x="442800" y="292608"/>
            <a:ext cx="5945188" cy="697992"/>
          </a:xfrm>
        </p:spPr>
        <p:txBody>
          <a:bodyPr>
            <a:normAutofit/>
          </a:bodyPr>
          <a:lstStyle>
            <a:lvl1pPr algn="l">
              <a:lnSpc>
                <a:spcPts val="2600"/>
              </a:lnSpc>
              <a:defRPr sz="2400" spc="-50" baseline="0">
                <a:solidFill>
                  <a:schemeClr val="tx2"/>
                </a:solidFill>
              </a:defRPr>
            </a:lvl1pPr>
          </a:lstStyle>
          <a:p>
            <a:r>
              <a:rPr lang="en-US" dirty="0" smtClean="0"/>
              <a:t>Click to edit Master title style</a:t>
            </a:r>
            <a:endParaRPr lang="en-US" dirty="0"/>
          </a:p>
        </p:txBody>
      </p:sp>
      <p:sp>
        <p:nvSpPr>
          <p:cNvPr id="19" name="Text Placeholder 11"/>
          <p:cNvSpPr>
            <a:spLocks noGrp="1"/>
          </p:cNvSpPr>
          <p:nvPr userDrawn="1">
            <p:ph type="body" sz="quarter" idx="10"/>
          </p:nvPr>
        </p:nvSpPr>
        <p:spPr>
          <a:xfrm>
            <a:off x="446881" y="1037599"/>
            <a:ext cx="5945188" cy="231775"/>
          </a:xfrm>
        </p:spPr>
        <p:txBody>
          <a:bodyPr/>
          <a:lstStyle>
            <a:lvl1pPr>
              <a:lnSpc>
                <a:spcPts val="1800"/>
              </a:lnSpc>
              <a:spcBef>
                <a:spcPts val="0"/>
              </a:spcBef>
              <a:buNone/>
              <a:defRPr sz="1200"/>
            </a:lvl1pPr>
          </a:lstStyle>
          <a:p>
            <a:pPr lvl="0"/>
            <a:r>
              <a:rPr lang="en-US" dirty="0" smtClean="0"/>
              <a:t>Click to edit Master text styles</a:t>
            </a:r>
            <a:endParaRPr lang="en-US" dirty="0"/>
          </a:p>
        </p:txBody>
      </p:sp>
      <p:sp>
        <p:nvSpPr>
          <p:cNvPr id="8" name="Title 4"/>
          <p:cNvSpPr txBox="1">
            <a:spLocks/>
          </p:cNvSpPr>
          <p:nvPr userDrawn="1"/>
        </p:nvSpPr>
        <p:spPr>
          <a:xfrm>
            <a:off x="63788" y="1736861"/>
            <a:ext cx="3211037" cy="333425"/>
          </a:xfrm>
          <a:prstGeom prst="rect">
            <a:avLst/>
          </a:prstGeom>
        </p:spPr>
        <p:txBody>
          <a:bodyPr vert="horz" wrap="square" lIns="0" tIns="0" rIns="0" bIns="0" rtlCol="0" anchor="t" anchorCtr="0">
            <a:spAutoFit/>
          </a:bodyPr>
          <a:lstStyle/>
          <a:p>
            <a:pPr algn="ctr" defTabSz="457200" fontAlgn="auto">
              <a:lnSpc>
                <a:spcPts val="2600"/>
              </a:lnSpc>
              <a:spcAft>
                <a:spcPts val="0"/>
              </a:spcAft>
              <a:defRPr/>
            </a:pPr>
            <a:r>
              <a:rPr lang="en-US" sz="2400" b="1" spc="-50" dirty="0">
                <a:solidFill>
                  <a:srgbClr val="FFDE00"/>
                </a:solidFill>
                <a:latin typeface="Verdana"/>
                <a:ea typeface="+mj-ea"/>
                <a:cs typeface="Verdana"/>
              </a:rPr>
              <a:t>Step Up in 2013</a:t>
            </a:r>
          </a:p>
        </p:txBody>
      </p:sp>
    </p:spTree>
    <p:extLst>
      <p:ext uri="{BB962C8B-B14F-4D97-AF65-F5344CB8AC3E}">
        <p14:creationId xmlns:p14="http://schemas.microsoft.com/office/powerpoint/2010/main" xmlns="" val="304100648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evider">
    <p:bg>
      <p:bgPr>
        <a:blipFill dpi="0" rotWithShape="1">
          <a:blip r:embed="rId2">
            <a:lum/>
          </a:blip>
          <a:srcRect/>
          <a:stretch>
            <a:fillRect l="-25000" r="-25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3" cy="579262"/>
          </a:xfrm>
        </p:spPr>
        <p:txBody>
          <a:bodyPr/>
          <a:lstStyle>
            <a:lvl1pPr>
              <a:defRPr>
                <a:solidFill>
                  <a:schemeClr val="accent2"/>
                </a:solidFill>
              </a:defRPr>
            </a:lvl1pPr>
          </a:lstStyle>
          <a:p>
            <a:r>
              <a:rPr lang="en-US" dirty="0" smtClean="0"/>
              <a:t>Click to edit Master title style</a:t>
            </a:r>
            <a:endParaRPr lang="en-ZA" dirty="0"/>
          </a:p>
        </p:txBody>
      </p:sp>
      <p:sp>
        <p:nvSpPr>
          <p:cNvPr id="3" name="Footer Placeholder 2"/>
          <p:cNvSpPr>
            <a:spLocks noGrp="1"/>
          </p:cNvSpPr>
          <p:nvPr>
            <p:ph type="ftr" sz="quarter" idx="10"/>
          </p:nvPr>
        </p:nvSpPr>
        <p:spPr/>
        <p:txBody>
          <a:bodyPr/>
          <a:lstStyle/>
          <a:p>
            <a:r>
              <a:rPr lang="en-US" smtClean="0">
                <a:solidFill>
                  <a:prstClr val="black"/>
                </a:solidFill>
              </a:rPr>
              <a:t>| Document Title | Date</a:t>
            </a:r>
            <a:endParaRPr lang="en-US" dirty="0">
              <a:solidFill>
                <a:prstClr val="black"/>
              </a:solidFill>
            </a:endParaRPr>
          </a:p>
        </p:txBody>
      </p:sp>
      <p:sp>
        <p:nvSpPr>
          <p:cNvPr id="4" name="Slide Number Placeholder 3"/>
          <p:cNvSpPr>
            <a:spLocks noGrp="1"/>
          </p:cNvSpPr>
          <p:nvPr>
            <p:ph type="sldNum" sz="quarter" idx="11"/>
          </p:nvPr>
        </p:nvSpPr>
        <p:spPr/>
        <p:txBody>
          <a:bodyPr/>
          <a:lstStyle/>
          <a:p>
            <a:fld id="{924AB324-2015-404C-B61B-562C7B72081B}" type="slidenum">
              <a:rPr lang="en-US" smtClean="0">
                <a:solidFill>
                  <a:prstClr val="black"/>
                </a:solidFill>
              </a:rPr>
              <a:pPr/>
              <a:t>‹#›</a:t>
            </a:fld>
            <a:endParaRPr lang="en-US" dirty="0">
              <a:solidFill>
                <a:prstClr val="black"/>
              </a:solidFill>
            </a:endParaRPr>
          </a:p>
        </p:txBody>
      </p:sp>
      <p:sp>
        <p:nvSpPr>
          <p:cNvPr id="6" name="Text Placeholder 5"/>
          <p:cNvSpPr>
            <a:spLocks noGrp="1"/>
          </p:cNvSpPr>
          <p:nvPr>
            <p:ph type="body" sz="quarter" idx="12"/>
          </p:nvPr>
        </p:nvSpPr>
        <p:spPr>
          <a:xfrm>
            <a:off x="457200" y="871870"/>
            <a:ext cx="4890978" cy="1839432"/>
          </a:xfrm>
        </p:spPr>
        <p:txBody>
          <a:bodyPr/>
          <a:lstStyle>
            <a:lvl1pPr>
              <a:buFont typeface="Wingdings" pitchFamily="2" charset="2"/>
              <a:buChar char="§"/>
              <a:defRPr>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xmlns="" val="1580168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92608"/>
            <a:ext cx="8640000" cy="648000"/>
          </a:xfrm>
        </p:spPr>
        <p:txBody>
          <a:bodyPr/>
          <a:lstStyle>
            <a:lvl1pPr>
              <a:defRPr/>
            </a:lvl1pPr>
          </a:lstStyle>
          <a:p>
            <a:r>
              <a:rPr lang="en-US" dirty="0" smtClean="0"/>
              <a:t>Click to edit Master title style ABC</a:t>
            </a:r>
            <a:endParaRPr lang="en-US" dirty="0"/>
          </a:p>
        </p:txBody>
      </p:sp>
      <p:sp>
        <p:nvSpPr>
          <p:cNvPr id="5" name="Text Placeholder 4"/>
          <p:cNvSpPr>
            <a:spLocks noGrp="1"/>
          </p:cNvSpPr>
          <p:nvPr>
            <p:ph type="body" sz="quarter" idx="10"/>
          </p:nvPr>
        </p:nvSpPr>
        <p:spPr>
          <a:xfrm>
            <a:off x="473074" y="1096963"/>
            <a:ext cx="8418925" cy="4967504"/>
          </a:xfrm>
        </p:spPr>
        <p:txBody>
          <a:bodyPr/>
          <a:lstStyle>
            <a:lvl1pPr marL="0" indent="0">
              <a:buNone/>
              <a:defRPr/>
            </a:lvl1pPr>
            <a:lvl2pPr marL="466725" indent="-285750">
              <a:buFont typeface="Verdana" panose="020B0604030504040204" pitchFamily="34" charset="0"/>
              <a:buChar char="–"/>
              <a:defRPr/>
            </a:lvl2pPr>
            <a:lvl3pPr marL="622300" indent="-285750">
              <a:buFont typeface="Arial" panose="020B0604020202020204"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 name="Footer Placeholder 2"/>
          <p:cNvSpPr>
            <a:spLocks noGrp="1"/>
          </p:cNvSpPr>
          <p:nvPr>
            <p:ph type="ftr" sz="quarter" idx="11"/>
          </p:nvPr>
        </p:nvSpPr>
        <p:spPr/>
        <p:txBody>
          <a:bodyPr/>
          <a:lstStyle/>
          <a:p>
            <a:pPr defTabSz="457200" fontAlgn="auto">
              <a:spcBef>
                <a:spcPts val="0"/>
              </a:spcBef>
              <a:spcAft>
                <a:spcPts val="0"/>
              </a:spcAft>
            </a:pPr>
            <a:r>
              <a:rPr lang="en-US" smtClean="0">
                <a:solidFill>
                  <a:prstClr val="black"/>
                </a:solidFill>
              </a:rPr>
              <a:t>| Document Title | Date</a:t>
            </a:r>
            <a:endParaRPr lang="en-US" dirty="0">
              <a:solidFill>
                <a:prstClr val="black"/>
              </a:solidFill>
            </a:endParaRPr>
          </a:p>
        </p:txBody>
      </p:sp>
      <p:sp>
        <p:nvSpPr>
          <p:cNvPr id="4" name="Slide Number Placeholder 3"/>
          <p:cNvSpPr>
            <a:spLocks noGrp="1"/>
          </p:cNvSpPr>
          <p:nvPr>
            <p:ph type="sldNum" sz="quarter" idx="12"/>
          </p:nvPr>
        </p:nvSpPr>
        <p:spPr/>
        <p:txBody>
          <a:bodyPr/>
          <a:lstStyle/>
          <a:p>
            <a:pPr defTabSz="457200" fontAlgn="auto">
              <a:spcBef>
                <a:spcPts val="0"/>
              </a:spcBef>
              <a:spcAft>
                <a:spcPts val="0"/>
              </a:spcAft>
            </a:pPr>
            <a:fld id="{924AB324-2015-404C-B61B-562C7B72081B}" type="slidenum">
              <a:rPr lang="en-US" smtClean="0">
                <a:solidFill>
                  <a:prstClr val="black"/>
                </a:solidFill>
              </a:rPr>
              <a:pPr defTabSz="457200" fontAlgn="auto">
                <a:spcBef>
                  <a:spcPts val="0"/>
                </a:spcBef>
                <a:spcAft>
                  <a:spcPts val="0"/>
                </a:spcAft>
              </a:pPr>
              <a:t>‹#›</a:t>
            </a:fld>
            <a:endParaRPr lang="en-US" dirty="0">
              <a:solidFill>
                <a:prstClr val="black"/>
              </a:solidFill>
            </a:endParaRPr>
          </a:p>
        </p:txBody>
      </p:sp>
    </p:spTree>
    <p:extLst>
      <p:ext uri="{BB962C8B-B14F-4D97-AF65-F5344CB8AC3E}">
        <p14:creationId xmlns:p14="http://schemas.microsoft.com/office/powerpoint/2010/main" xmlns="" val="301705308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tx1"/>
        </a:solidFill>
        <a:effectLst/>
      </p:bgPr>
    </p:bg>
    <p:spTree>
      <p:nvGrpSpPr>
        <p:cNvPr id="1" name=""/>
        <p:cNvGrpSpPr/>
        <p:nvPr/>
      </p:nvGrpSpPr>
      <p:grpSpPr>
        <a:xfrm>
          <a:off x="0" y="0"/>
          <a:ext cx="0" cy="0"/>
          <a:chOff x="0" y="0"/>
          <a:chExt cx="0" cy="0"/>
        </a:xfrm>
      </p:grpSpPr>
      <p:pic>
        <p:nvPicPr>
          <p:cNvPr id="4" name="Picture 4" descr="JD_gy_4c_h"/>
          <p:cNvPicPr>
            <a:picLocks noChangeAspect="1" noChangeArrowheads="1"/>
          </p:cNvPicPr>
          <p:nvPr userDrawn="1"/>
        </p:nvPicPr>
        <p:blipFill>
          <a:blip r:embed="rId2"/>
          <a:srcRect/>
          <a:stretch>
            <a:fillRect/>
          </a:stretch>
        </p:blipFill>
        <p:spPr bwMode="auto">
          <a:xfrm>
            <a:off x="1341438" y="2435225"/>
            <a:ext cx="6453187" cy="1974850"/>
          </a:xfrm>
          <a:prstGeom prst="rect">
            <a:avLst/>
          </a:prstGeom>
          <a:noFill/>
        </p:spPr>
      </p:pic>
    </p:spTree>
    <p:extLst>
      <p:ext uri="{BB962C8B-B14F-4D97-AF65-F5344CB8AC3E}">
        <p14:creationId xmlns:p14="http://schemas.microsoft.com/office/powerpoint/2010/main" xmlns="" val="2630986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4" cy="648229"/>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199" y="1479004"/>
            <a:ext cx="3987801" cy="4522787"/>
          </a:xfrm>
        </p:spPr>
        <p:txBody>
          <a:bodyPr/>
          <a:lstStyle>
            <a:lvl1pPr marL="0" indent="0" algn="l" defTabSz="457200" rtl="0" eaLnBrk="1" latinLnBrk="0" hangingPunct="1">
              <a:spcBef>
                <a:spcPts val="1000"/>
              </a:spcBef>
              <a:buFontTx/>
              <a:buNone/>
              <a:defRPr lang="en-US" sz="1800" kern="1200" dirty="0" smtClean="0">
                <a:solidFill>
                  <a:srgbClr val="006600"/>
                </a:solidFill>
                <a:latin typeface="Verdana"/>
                <a:ea typeface="+mn-ea"/>
                <a:cs typeface="Verdana"/>
              </a:defRPr>
            </a:lvl1pPr>
            <a:lvl2pPr marL="266700" indent="-171450" algn="l" defTabSz="457200" rtl="0" eaLnBrk="1" latinLnBrk="0" hangingPunct="1">
              <a:spcBef>
                <a:spcPts val="500"/>
              </a:spcBef>
              <a:buSzPct val="100000"/>
              <a:buFont typeface="Verdana" pitchFamily="34" charset="0"/>
              <a:buChar char="–"/>
              <a:defRPr lang="en-US" sz="1600" kern="1200" dirty="0" smtClean="0">
                <a:solidFill>
                  <a:srgbClr val="006600"/>
                </a:solidFill>
                <a:latin typeface="Verdana"/>
                <a:ea typeface="+mn-ea"/>
                <a:cs typeface="Verdana"/>
              </a:defRPr>
            </a:lvl2pPr>
            <a:lvl3pPr marL="495300" indent="-171450" algn="l" defTabSz="457200" rtl="0" eaLnBrk="1" latinLnBrk="0" hangingPunct="1">
              <a:spcBef>
                <a:spcPts val="250"/>
              </a:spcBef>
              <a:buFont typeface="Arial" pitchFamily="34" charset="0"/>
              <a:buChar char="•"/>
              <a:defRPr lang="en-US" sz="1600" kern="1200" dirty="0" smtClean="0">
                <a:solidFill>
                  <a:srgbClr val="006600"/>
                </a:solidFill>
                <a:latin typeface="Verdana"/>
                <a:ea typeface="+mn-ea"/>
                <a:cs typeface="Verdana"/>
              </a:defRPr>
            </a:lvl3pPr>
            <a:lvl4pPr marL="673100" indent="-139700" algn="l" defTabSz="457200" rtl="0" eaLnBrk="1" latinLnBrk="0" hangingPunct="1">
              <a:spcBef>
                <a:spcPts val="100"/>
              </a:spcBef>
              <a:buSzPct val="100000"/>
              <a:buFont typeface="Verdana" pitchFamily="34" charset="0"/>
              <a:buChar char="–"/>
              <a:tabLst/>
              <a:defRPr lang="en-US" sz="1600" kern="1200" dirty="0" smtClean="0">
                <a:solidFill>
                  <a:srgbClr val="006600"/>
                </a:solidFill>
                <a:latin typeface="Verdana"/>
                <a:ea typeface="+mn-ea"/>
                <a:cs typeface="Verdana"/>
              </a:defRPr>
            </a:lvl4pPr>
            <a:lvl5pPr marL="831850" indent="-120650" algn="l" defTabSz="457200" rtl="0" eaLnBrk="1" latinLnBrk="0" hangingPunct="1">
              <a:buFont typeface="Arial" pitchFamily="34" charset="0"/>
              <a:buChar char="•"/>
              <a:defRPr lang="en-US" sz="1600" kern="1200" dirty="0">
                <a:solidFill>
                  <a:srgbClr val="006600"/>
                </a:solidFill>
                <a:latin typeface="Verdana"/>
                <a:ea typeface="+mn-ea"/>
                <a:cs typeface="Verdana"/>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91064" y="1479004"/>
            <a:ext cx="3994150" cy="4522787"/>
          </a:xfrm>
        </p:spPr>
        <p:txBody>
          <a:bodyPr/>
          <a:lstStyle>
            <a:lvl1pPr marL="0" indent="0">
              <a:spcBef>
                <a:spcPts val="1000"/>
              </a:spcBef>
              <a:buFontTx/>
              <a:buNone/>
              <a:defRPr sz="1800"/>
            </a:lvl1pPr>
            <a:lvl2pPr marL="266700" indent="-171450">
              <a:spcBef>
                <a:spcPts val="500"/>
              </a:spcBef>
              <a:buSzPct val="100000"/>
              <a:buFont typeface="Verdana" pitchFamily="34" charset="0"/>
              <a:buChar char="–"/>
              <a:defRPr sz="1600"/>
            </a:lvl2pPr>
            <a:lvl3pPr marL="495300" indent="-171450">
              <a:spcBef>
                <a:spcPts val="250"/>
              </a:spcBef>
              <a:buFont typeface="Arial" pitchFamily="34" charset="0"/>
              <a:buChar char="•"/>
              <a:defRPr sz="1400"/>
            </a:lvl3pPr>
            <a:lvl4pPr marL="673100" indent="-139700">
              <a:spcBef>
                <a:spcPts val="100"/>
              </a:spcBef>
              <a:buSzPct val="100000"/>
              <a:buFont typeface="Verdana" pitchFamily="34" charset="0"/>
              <a:buChar char="–"/>
              <a:defRPr sz="1200"/>
            </a:lvl4pPr>
            <a:lvl5pPr marL="831850" indent="-120650">
              <a:buFont typeface="Arial" pitchFamily="34" charset="0"/>
              <a:buChar cha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xmlns="" val="25031540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3" cy="648229"/>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199" y="1935162"/>
            <a:ext cx="3987875" cy="4008437"/>
          </a:xfrm>
        </p:spPr>
        <p:txBody>
          <a:bodyPr/>
          <a:lstStyle>
            <a:lvl1pPr marL="0" indent="0">
              <a:spcBef>
                <a:spcPts val="1000"/>
              </a:spcBef>
              <a:buFontTx/>
              <a:buNone/>
              <a:defRPr sz="1800"/>
            </a:lvl1pPr>
            <a:lvl2pPr marL="266700" indent="-171450">
              <a:spcBef>
                <a:spcPts val="500"/>
              </a:spcBef>
              <a:buSzPct val="100000"/>
              <a:buFont typeface="Verdana" pitchFamily="34" charset="0"/>
              <a:buChar char="–"/>
              <a:defRPr sz="1600"/>
            </a:lvl2pPr>
            <a:lvl3pPr marL="495300" indent="-171450">
              <a:spcBef>
                <a:spcPts val="250"/>
              </a:spcBef>
              <a:defRPr sz="1400"/>
            </a:lvl3pPr>
            <a:lvl4pPr marL="673100" indent="-139700">
              <a:spcBef>
                <a:spcPts val="100"/>
              </a:spcBef>
              <a:buSzPct val="100000"/>
              <a:buFont typeface="Verdana" pitchFamily="34" charset="0"/>
              <a:buChar char="–"/>
              <a:defRPr sz="1200"/>
            </a:lvl4pPr>
            <a:lvl5pPr marL="831850" indent="-120650">
              <a:buFont typeface="Arial" pitchFamily="34" charset="0"/>
              <a:buChar cha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99000" y="1935162"/>
            <a:ext cx="3986213" cy="4008438"/>
          </a:xfrm>
        </p:spPr>
        <p:txBody>
          <a:bodyPr/>
          <a:lstStyle>
            <a:lvl1pPr marL="0" indent="0">
              <a:spcBef>
                <a:spcPts val="1000"/>
              </a:spcBef>
              <a:buFontTx/>
              <a:buNone/>
              <a:defRPr sz="1800"/>
            </a:lvl1pPr>
            <a:lvl2pPr marL="266700" indent="-171450">
              <a:spcBef>
                <a:spcPts val="500"/>
              </a:spcBef>
              <a:buSzPct val="100000"/>
              <a:buFont typeface="Verdana" pitchFamily="34" charset="0"/>
              <a:buChar char="–"/>
              <a:defRPr sz="1600"/>
            </a:lvl2pPr>
            <a:lvl3pPr marL="495300" indent="-171450">
              <a:spcBef>
                <a:spcPts val="250"/>
              </a:spcBef>
              <a:defRPr sz="1400"/>
            </a:lvl3pPr>
            <a:lvl4pPr marL="673100" indent="-139700">
              <a:spcBef>
                <a:spcPts val="100"/>
              </a:spcBef>
              <a:buSzPct val="100000"/>
              <a:buFont typeface="Verdana" pitchFamily="34" charset="0"/>
              <a:buChar char="–"/>
              <a:defRPr sz="1200"/>
            </a:lvl4pPr>
            <a:lvl5pPr marL="831850" indent="-120650">
              <a:buFont typeface="Arial" pitchFamily="34" charset="0"/>
              <a:buChar cha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3"/>
          </p:nvPr>
        </p:nvSpPr>
        <p:spPr>
          <a:xfrm>
            <a:off x="457198" y="1309227"/>
            <a:ext cx="3987802" cy="449262"/>
          </a:xfrm>
        </p:spPr>
        <p:txBody>
          <a:bodyPr anchor="b" anchorCtr="0">
            <a:noAutofit/>
          </a:bodyPr>
          <a:lstStyle>
            <a:lvl1pPr marL="0" indent="0">
              <a:buFontTx/>
              <a:buNone/>
              <a:defRPr sz="1800" b="1"/>
            </a:lvl1pPr>
          </a:lstStyle>
          <a:p>
            <a:pPr lvl="0"/>
            <a:r>
              <a:rPr lang="en-US" dirty="0" smtClean="0"/>
              <a:t>Click to edit Master text styles</a:t>
            </a:r>
            <a:endParaRPr lang="en-US" dirty="0"/>
          </a:p>
        </p:txBody>
      </p:sp>
      <p:sp>
        <p:nvSpPr>
          <p:cNvPr id="10" name="Text Placeholder 8"/>
          <p:cNvSpPr>
            <a:spLocks noGrp="1"/>
          </p:cNvSpPr>
          <p:nvPr>
            <p:ph type="body" sz="quarter" idx="14"/>
          </p:nvPr>
        </p:nvSpPr>
        <p:spPr>
          <a:xfrm>
            <a:off x="4699000" y="1309227"/>
            <a:ext cx="3986213" cy="449262"/>
          </a:xfrm>
        </p:spPr>
        <p:txBody>
          <a:bodyPr anchor="b" anchorCtr="0">
            <a:noAutofit/>
          </a:bodyPr>
          <a:lstStyle>
            <a:lvl1pPr marL="0" indent="0">
              <a:buFontTx/>
              <a:buNone/>
              <a:defRPr sz="1800" b="1"/>
            </a:lvl1pPr>
          </a:lstStyle>
          <a:p>
            <a:pPr lvl="0"/>
            <a:r>
              <a:rPr lang="en-US" dirty="0" smtClean="0"/>
              <a:t>Click to edit Master text styles</a:t>
            </a:r>
            <a:endParaRPr lang="en-US" dirty="0"/>
          </a:p>
        </p:txBody>
      </p:sp>
    </p:spTree>
    <p:extLst>
      <p:ext uri="{BB962C8B-B14F-4D97-AF65-F5344CB8AC3E}">
        <p14:creationId xmlns:p14="http://schemas.microsoft.com/office/powerpoint/2010/main" xmlns="" val="1583506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3" cy="648229"/>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4" y="1935162"/>
            <a:ext cx="2592384" cy="3709289"/>
          </a:xfrm>
        </p:spPr>
        <p:txBody>
          <a:bodyPr/>
          <a:lstStyle>
            <a:lvl1pPr>
              <a:spcBef>
                <a:spcPts val="1000"/>
              </a:spcBef>
              <a:defRPr sz="1600"/>
            </a:lvl1pPr>
            <a:lvl2pPr marL="266700" indent="-171450">
              <a:spcBef>
                <a:spcPts val="500"/>
              </a:spcBef>
              <a:buSzPct val="100000"/>
              <a:buFont typeface="Verdana" pitchFamily="34" charset="0"/>
              <a:buChar char="–"/>
              <a:defRPr sz="1600"/>
            </a:lvl2pPr>
            <a:lvl3pPr marL="495300" indent="-171450">
              <a:spcBef>
                <a:spcPts val="250"/>
              </a:spcBef>
              <a:buFont typeface="Arial" pitchFamily="34" charset="0"/>
              <a:buChar char="•"/>
              <a:defRPr sz="1400"/>
            </a:lvl3pPr>
            <a:lvl4pPr marL="673100" indent="-139700">
              <a:spcBef>
                <a:spcPts val="100"/>
              </a:spcBef>
              <a:buSzPct val="100000"/>
              <a:buFont typeface="Verdana" pitchFamily="34" charset="0"/>
              <a:buChar char="–"/>
              <a:defRPr sz="1200"/>
            </a:lvl4pPr>
            <a:lvl5pPr marL="831850" indent="-120650">
              <a:buFont typeface="Arial" pitchFamily="34" charset="0"/>
              <a:buChar cha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3"/>
          </p:nvPr>
        </p:nvSpPr>
        <p:spPr>
          <a:xfrm>
            <a:off x="457201" y="1049338"/>
            <a:ext cx="2592388" cy="684212"/>
          </a:xfrm>
        </p:spPr>
        <p:txBody>
          <a:bodyPr anchor="b" anchorCtr="0">
            <a:noAutofit/>
          </a:bodyPr>
          <a:lstStyle>
            <a:lvl1pPr>
              <a:defRPr sz="1600" b="1"/>
            </a:lvl1pPr>
          </a:lstStyle>
          <a:p>
            <a:pPr lvl="0"/>
            <a:r>
              <a:rPr lang="en-US" dirty="0" smtClean="0"/>
              <a:t>Click to edit Master text styles</a:t>
            </a:r>
            <a:endParaRPr lang="en-US" dirty="0"/>
          </a:p>
        </p:txBody>
      </p:sp>
      <p:sp>
        <p:nvSpPr>
          <p:cNvPr id="13" name="Picture Placeholder 12"/>
          <p:cNvSpPr>
            <a:spLocks noGrp="1"/>
          </p:cNvSpPr>
          <p:nvPr>
            <p:ph type="pic" sz="quarter" idx="14"/>
          </p:nvPr>
        </p:nvSpPr>
        <p:spPr>
          <a:xfrm>
            <a:off x="3281363" y="1935162"/>
            <a:ext cx="5398343" cy="3709290"/>
          </a:xfrm>
        </p:spPr>
        <p:txBody>
          <a:bodyPr/>
          <a:lstStyle/>
          <a:p>
            <a:endParaRPr lang="en-US"/>
          </a:p>
        </p:txBody>
      </p:sp>
      <p:sp>
        <p:nvSpPr>
          <p:cNvPr id="14" name="Text Placeholder 8"/>
          <p:cNvSpPr>
            <a:spLocks noGrp="1"/>
          </p:cNvSpPr>
          <p:nvPr>
            <p:ph type="body" sz="quarter" idx="15"/>
          </p:nvPr>
        </p:nvSpPr>
        <p:spPr>
          <a:xfrm>
            <a:off x="3278188" y="1049338"/>
            <a:ext cx="5407025" cy="684212"/>
          </a:xfrm>
        </p:spPr>
        <p:txBody>
          <a:bodyPr anchor="b" anchorCtr="0">
            <a:noAutofit/>
          </a:bodyPr>
          <a:lstStyle>
            <a:lvl1pPr>
              <a:defRPr sz="1600" b="1"/>
            </a:lvl1pPr>
          </a:lstStyle>
          <a:p>
            <a:pPr lvl="0"/>
            <a:r>
              <a:rPr lang="en-US" dirty="0" smtClean="0"/>
              <a:t>Click to edit Master text styles</a:t>
            </a:r>
            <a:endParaRPr lang="en-US" dirty="0"/>
          </a:p>
        </p:txBody>
      </p:sp>
    </p:spTree>
    <p:extLst>
      <p:ext uri="{BB962C8B-B14F-4D97-AF65-F5344CB8AC3E}">
        <p14:creationId xmlns:p14="http://schemas.microsoft.com/office/powerpoint/2010/main" xmlns="" val="17771940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1" name="Chart Placeholder 10"/>
          <p:cNvSpPr>
            <a:spLocks noGrp="1"/>
          </p:cNvSpPr>
          <p:nvPr>
            <p:ph type="chart" sz="quarter" idx="16"/>
          </p:nvPr>
        </p:nvSpPr>
        <p:spPr>
          <a:xfrm>
            <a:off x="3281363" y="1935164"/>
            <a:ext cx="5388275" cy="4005261"/>
          </a:xfrm>
        </p:spPr>
        <p:txBody>
          <a:bodyPr/>
          <a:lstStyle/>
          <a:p>
            <a:endParaRPr lang="en-US"/>
          </a:p>
        </p:txBody>
      </p:sp>
      <p:sp>
        <p:nvSpPr>
          <p:cNvPr id="2" name="Title 1"/>
          <p:cNvSpPr>
            <a:spLocks noGrp="1"/>
          </p:cNvSpPr>
          <p:nvPr>
            <p:ph type="title"/>
          </p:nvPr>
        </p:nvSpPr>
        <p:spPr>
          <a:xfrm>
            <a:off x="457200" y="292608"/>
            <a:ext cx="8228013" cy="648229"/>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1" y="1935163"/>
            <a:ext cx="2592388" cy="4005262"/>
          </a:xfrm>
        </p:spPr>
        <p:txBody>
          <a:bodyPr/>
          <a:lstStyle>
            <a:lvl1pPr>
              <a:spcBef>
                <a:spcPts val="1000"/>
              </a:spcBef>
              <a:defRPr sz="1600"/>
            </a:lvl1pPr>
            <a:lvl2pPr marL="266700" indent="-171450">
              <a:spcBef>
                <a:spcPts val="500"/>
              </a:spcBef>
              <a:buSzPct val="85000"/>
              <a:defRPr sz="1600"/>
            </a:lvl2pPr>
            <a:lvl3pPr marL="495300" indent="-171450">
              <a:spcBef>
                <a:spcPts val="250"/>
              </a:spcBef>
              <a:defRPr sz="1400"/>
            </a:lvl3pPr>
            <a:lvl4pPr marL="673100" indent="-139700">
              <a:spcBef>
                <a:spcPts val="100"/>
              </a:spcBef>
              <a:buSzPct val="95000"/>
              <a:buFont typeface="Verdana"/>
              <a:buChar char="•"/>
              <a:tabLst/>
              <a:defRPr sz="1200"/>
            </a:lvl4pPr>
            <a:lvl5pPr marL="831850" indent="-120650">
              <a:buFont typeface="Verdana" pitchFamily="34" charset="0"/>
              <a:buChar cha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3"/>
          </p:nvPr>
        </p:nvSpPr>
        <p:spPr>
          <a:xfrm>
            <a:off x="457201" y="1049338"/>
            <a:ext cx="2592387" cy="684212"/>
          </a:xfrm>
        </p:spPr>
        <p:txBody>
          <a:bodyPr anchor="b" anchorCtr="0">
            <a:noAutofit/>
          </a:bodyPr>
          <a:lstStyle>
            <a:lvl1pPr>
              <a:defRPr sz="1600" b="1"/>
            </a:lvl1pPr>
          </a:lstStyle>
          <a:p>
            <a:pPr lvl="0"/>
            <a:r>
              <a:rPr lang="en-US" dirty="0" smtClean="0"/>
              <a:t>Click to edit Master text styles</a:t>
            </a:r>
            <a:endParaRPr lang="en-US" dirty="0"/>
          </a:p>
        </p:txBody>
      </p:sp>
      <p:sp>
        <p:nvSpPr>
          <p:cNvPr id="14" name="Text Placeholder 8"/>
          <p:cNvSpPr>
            <a:spLocks noGrp="1"/>
          </p:cNvSpPr>
          <p:nvPr>
            <p:ph type="body" sz="quarter" idx="15"/>
          </p:nvPr>
        </p:nvSpPr>
        <p:spPr>
          <a:xfrm>
            <a:off x="3281363" y="1049338"/>
            <a:ext cx="5388275" cy="684211"/>
          </a:xfrm>
        </p:spPr>
        <p:txBody>
          <a:bodyPr anchor="b" anchorCtr="0">
            <a:noAutofit/>
          </a:bodyPr>
          <a:lstStyle>
            <a:lvl1pPr>
              <a:defRPr sz="1600" b="1"/>
            </a:lvl1pPr>
          </a:lstStyle>
          <a:p>
            <a:pPr lvl="0"/>
            <a:r>
              <a:rPr lang="en-US" dirty="0" smtClean="0"/>
              <a:t>Click to edit Master text styles</a:t>
            </a:r>
            <a:endParaRPr lang="en-US" dirty="0"/>
          </a:p>
        </p:txBody>
      </p:sp>
    </p:spTree>
    <p:extLst>
      <p:ext uri="{BB962C8B-B14F-4D97-AF65-F5344CB8AC3E}">
        <p14:creationId xmlns:p14="http://schemas.microsoft.com/office/powerpoint/2010/main" xmlns="" val="858697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3061045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3" cy="648229"/>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61925551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92608"/>
            <a:ext cx="8228013" cy="648229"/>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7452734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259381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3700" y="269875"/>
            <a:ext cx="8356600" cy="64611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93700" y="1265238"/>
            <a:ext cx="8356600" cy="4678362"/>
          </a:xfrm>
        </p:spPr>
        <p:txBody>
          <a:bodyPr/>
          <a:lstStyle/>
          <a:p>
            <a:pPr lvl="0"/>
            <a:endParaRPr lang="en-US" noProof="0" dirty="0" smtClean="0"/>
          </a:p>
        </p:txBody>
      </p:sp>
      <p:sp>
        <p:nvSpPr>
          <p:cNvPr id="4" name="Rectangle 5"/>
          <p:cNvSpPr>
            <a:spLocks noGrp="1" noChangeArrowheads="1"/>
          </p:cNvSpPr>
          <p:nvPr>
            <p:ph type="ftr" sz="quarter" idx="10"/>
          </p:nvPr>
        </p:nvSpPr>
        <p:spPr>
          <a:xfrm>
            <a:off x="603250" y="6453188"/>
            <a:ext cx="5437188" cy="231775"/>
          </a:xfrm>
          <a:prstGeom prst="rect">
            <a:avLst/>
          </a:prstGeom>
          <a:ln/>
        </p:spPr>
        <p:txBody>
          <a:bodyPr/>
          <a:lstStyle>
            <a:lvl1pPr>
              <a:defRPr/>
            </a:lvl1pPr>
          </a:lstStyle>
          <a:p>
            <a:pPr>
              <a:defRPr/>
            </a:pPr>
            <a:r>
              <a:rPr lang="en-US" smtClean="0"/>
              <a:t>Farm Foundation Roundtable  |  June 7, 2013</a:t>
            </a:r>
            <a:endParaRPr lang="en-US" dirty="0"/>
          </a:p>
        </p:txBody>
      </p:sp>
      <p:sp>
        <p:nvSpPr>
          <p:cNvPr id="5" name="Rectangle 15"/>
          <p:cNvSpPr>
            <a:spLocks noGrp="1" noChangeArrowheads="1"/>
          </p:cNvSpPr>
          <p:nvPr>
            <p:ph type="sldNum" sz="quarter" idx="11"/>
          </p:nvPr>
        </p:nvSpPr>
        <p:spPr>
          <a:xfrm>
            <a:off x="392113" y="6453188"/>
            <a:ext cx="228600" cy="228600"/>
          </a:xfrm>
          <a:prstGeom prst="rect">
            <a:avLst/>
          </a:prstGeom>
          <a:ln/>
        </p:spPr>
        <p:txBody>
          <a:bodyPr/>
          <a:lstStyle>
            <a:lvl1pPr>
              <a:defRPr/>
            </a:lvl1pPr>
          </a:lstStyle>
          <a:p>
            <a:pPr>
              <a:defRPr/>
            </a:pPr>
            <a:fld id="{26BE9375-72CD-4D65-BFCA-9F852F8C08F0}" type="slidenum">
              <a:rPr lang="en-US"/>
              <a:pPr>
                <a:defRPr/>
              </a:pPr>
              <a:t>‹#›</a:t>
            </a:fld>
            <a:endParaRPr lang="en-US" dirty="0"/>
          </a:p>
        </p:txBody>
      </p:sp>
    </p:spTree>
    <p:extLst>
      <p:ext uri="{BB962C8B-B14F-4D97-AF65-F5344CB8AC3E}">
        <p14:creationId xmlns:p14="http://schemas.microsoft.com/office/powerpoint/2010/main" xmlns="" val="242348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2806480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76375"/>
            <a:ext cx="4037013"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476375"/>
            <a:ext cx="4038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421987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409571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756888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47941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820149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8949137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7.png"/><Relationship Id="rId2" Type="http://schemas.openxmlformats.org/officeDocument/2006/relationships/slideLayout" Target="../slideLayouts/slideLayout13.xml"/><Relationship Id="rId16"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5.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5170" name="Picture 15" descr="JD_Gray_Gradient_10x1-4in.png"/>
          <p:cNvPicPr>
            <a:picLocks/>
          </p:cNvPicPr>
          <p:nvPr/>
        </p:nvPicPr>
        <p:blipFill>
          <a:blip r:embed="rId13"/>
          <a:srcRect/>
          <a:stretch>
            <a:fillRect/>
          </a:stretch>
        </p:blipFill>
        <p:spPr bwMode="auto">
          <a:xfrm>
            <a:off x="0" y="0"/>
            <a:ext cx="9144000" cy="1319213"/>
          </a:xfrm>
          <a:prstGeom prst="rect">
            <a:avLst/>
          </a:prstGeom>
          <a:noFill/>
          <a:ln w="9525">
            <a:noFill/>
            <a:miter lim="800000"/>
            <a:headEnd/>
            <a:tailEnd/>
          </a:ln>
        </p:spPr>
      </p:pic>
      <p:pic>
        <p:nvPicPr>
          <p:cNvPr id="135171" name="Picture 19" descr="JD_gy_RGB_screen_h"/>
          <p:cNvPicPr>
            <a:picLocks noChangeAspect="1" noChangeArrowheads="1"/>
          </p:cNvPicPr>
          <p:nvPr/>
        </p:nvPicPr>
        <p:blipFill>
          <a:blip r:embed="rId14"/>
          <a:srcRect/>
          <a:stretch>
            <a:fillRect/>
          </a:stretch>
        </p:blipFill>
        <p:spPr bwMode="auto">
          <a:xfrm>
            <a:off x="6692900" y="581025"/>
            <a:ext cx="2149475" cy="658813"/>
          </a:xfrm>
          <a:prstGeom prst="rect">
            <a:avLst/>
          </a:prstGeom>
          <a:noFill/>
          <a:ln w="9525">
            <a:noFill/>
            <a:miter lim="800000"/>
            <a:headEnd/>
            <a:tailEnd/>
          </a:ln>
        </p:spPr>
      </p:pic>
      <p:pic>
        <p:nvPicPr>
          <p:cNvPr id="135172" name="Picture 17" descr="JD_bar_gy_4c_10in.png"/>
          <p:cNvPicPr>
            <a:picLocks noChangeAspect="1"/>
          </p:cNvPicPr>
          <p:nvPr/>
        </p:nvPicPr>
        <p:blipFill>
          <a:blip r:embed="rId15"/>
          <a:srcRect/>
          <a:stretch>
            <a:fillRect/>
          </a:stretch>
        </p:blipFill>
        <p:spPr bwMode="auto">
          <a:xfrm>
            <a:off x="0" y="1312863"/>
            <a:ext cx="9144000" cy="228600"/>
          </a:xfrm>
          <a:prstGeom prst="rect">
            <a:avLst/>
          </a:prstGeom>
          <a:noFill/>
          <a:ln w="9525">
            <a:noFill/>
            <a:miter lim="800000"/>
            <a:headEnd/>
            <a:tailEnd/>
          </a:ln>
        </p:spPr>
      </p:pic>
      <p:pic>
        <p:nvPicPr>
          <p:cNvPr id="135173" name="Picture 6" descr="TitleSlideImage.jpg"/>
          <p:cNvPicPr>
            <a:picLocks noChangeAspect="1"/>
          </p:cNvPicPr>
          <p:nvPr/>
        </p:nvPicPr>
        <p:blipFill>
          <a:blip r:embed="rId16"/>
          <a:srcRect/>
          <a:stretch>
            <a:fillRect/>
          </a:stretch>
        </p:blipFill>
        <p:spPr bwMode="auto">
          <a:xfrm>
            <a:off x="0" y="1536700"/>
            <a:ext cx="9144000" cy="5321300"/>
          </a:xfrm>
          <a:prstGeom prst="rect">
            <a:avLst/>
          </a:prstGeom>
          <a:noFill/>
          <a:ln w="9525">
            <a:noFill/>
            <a:miter lim="800000"/>
            <a:headEnd/>
            <a:tailEnd/>
          </a:ln>
        </p:spPr>
      </p:pic>
      <p:sp>
        <p:nvSpPr>
          <p:cNvPr id="2" name="Title Placeholder 1"/>
          <p:cNvSpPr>
            <a:spLocks noGrp="1"/>
          </p:cNvSpPr>
          <p:nvPr>
            <p:ph type="title"/>
          </p:nvPr>
        </p:nvSpPr>
        <p:spPr>
          <a:xfrm>
            <a:off x="457200" y="292100"/>
            <a:ext cx="8228013" cy="649288"/>
          </a:xfrm>
          <a:prstGeom prst="rect">
            <a:avLst/>
          </a:prstGeom>
        </p:spPr>
        <p:txBody>
          <a:bodyPr vert="horz" wrap="square" lIns="0" tIns="0" rIns="0" bIns="0" numCol="1" anchor="t" anchorCtr="0" compatLnSpc="1">
            <a:prstTxWarp prst="textNoShape">
              <a:avLst/>
            </a:prstTxWarp>
            <a:noAutofit/>
          </a:bodyPr>
          <a:lstStyle/>
          <a:p>
            <a:pPr lvl="0"/>
            <a:r>
              <a:rPr lang="en-US" smtClean="0"/>
              <a:t>Click to edit Master title style</a:t>
            </a:r>
          </a:p>
        </p:txBody>
      </p:sp>
      <p:sp>
        <p:nvSpPr>
          <p:cNvPr id="135175" name="Text Placeholder 2"/>
          <p:cNvSpPr>
            <a:spLocks noGrp="1"/>
          </p:cNvSpPr>
          <p:nvPr>
            <p:ph type="body" idx="1"/>
          </p:nvPr>
        </p:nvSpPr>
        <p:spPr bwMode="auto">
          <a:xfrm>
            <a:off x="457200" y="1476375"/>
            <a:ext cx="8228013" cy="457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xmlns="" val="234313715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hf hdr="0" dt="0"/>
  <p:txStyles>
    <p:titleStyle>
      <a:lvl1pPr algn="l" defTabSz="457200" rtl="0" fontAlgn="base">
        <a:lnSpc>
          <a:spcPts val="2600"/>
        </a:lnSpc>
        <a:spcBef>
          <a:spcPct val="0"/>
        </a:spcBef>
        <a:spcAft>
          <a:spcPct val="0"/>
        </a:spcAft>
        <a:defRPr sz="2400" b="1">
          <a:solidFill>
            <a:schemeClr val="accent1"/>
          </a:solidFill>
          <a:latin typeface="+mj-lt"/>
          <a:ea typeface="+mj-ea"/>
          <a:cs typeface="+mj-cs"/>
        </a:defRPr>
      </a:lvl1pPr>
      <a:lvl2pPr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2pPr>
      <a:lvl3pPr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3pPr>
      <a:lvl4pPr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4pPr>
      <a:lvl5pPr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5pPr>
      <a:lvl6pPr marL="457200"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6pPr>
      <a:lvl7pPr marL="914400"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7pPr>
      <a:lvl8pPr marL="1371600"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8pPr>
      <a:lvl9pPr marL="1828800" algn="l" defTabSz="457200" rtl="0" fontAlgn="base">
        <a:lnSpc>
          <a:spcPts val="2600"/>
        </a:lnSpc>
        <a:spcBef>
          <a:spcPct val="0"/>
        </a:spcBef>
        <a:spcAft>
          <a:spcPct val="0"/>
        </a:spcAft>
        <a:defRPr sz="2400" b="1">
          <a:solidFill>
            <a:schemeClr val="accent1"/>
          </a:solidFill>
          <a:latin typeface="Verdana" pitchFamily="34" charset="0"/>
          <a:cs typeface="Arial" pitchFamily="34" charset="0"/>
        </a:defRPr>
      </a:lvl9pPr>
    </p:titleStyle>
    <p:bodyStyle>
      <a:lvl1pPr marL="342900" indent="-342900" algn="l" defTabSz="457200" rtl="0" fontAlgn="base">
        <a:spcBef>
          <a:spcPts val="1000"/>
        </a:spcBef>
        <a:spcAft>
          <a:spcPct val="0"/>
        </a:spcAft>
        <a:buFont typeface="Arial" pitchFamily="34" charset="0"/>
        <a:defRPr sz="2000">
          <a:solidFill>
            <a:schemeClr val="tx1"/>
          </a:solidFill>
          <a:latin typeface="+mn-lt"/>
          <a:ea typeface="+mn-ea"/>
          <a:cs typeface="+mn-cs"/>
        </a:defRPr>
      </a:lvl1pPr>
      <a:lvl2pPr marL="317500" indent="-198438" algn="l" defTabSz="457200" rtl="0" fontAlgn="base">
        <a:spcBef>
          <a:spcPts val="600"/>
        </a:spcBef>
        <a:spcAft>
          <a:spcPct val="0"/>
        </a:spcAft>
        <a:buSzPct val="100000"/>
        <a:buFont typeface="Verdana" pitchFamily="34" charset="0"/>
        <a:buChar char="–"/>
        <a:defRPr>
          <a:solidFill>
            <a:schemeClr val="tx1"/>
          </a:solidFill>
          <a:latin typeface="+mn-lt"/>
          <a:cs typeface="+mn-cs"/>
        </a:defRPr>
      </a:lvl2pPr>
      <a:lvl3pPr marL="546100" indent="-209550" algn="l" defTabSz="457200" rtl="0" fontAlgn="base">
        <a:spcBef>
          <a:spcPts val="300"/>
        </a:spcBef>
        <a:spcAft>
          <a:spcPct val="0"/>
        </a:spcAft>
        <a:buFont typeface="Arial" pitchFamily="34" charset="0"/>
        <a:buChar char="•"/>
        <a:defRPr sz="1600">
          <a:solidFill>
            <a:schemeClr val="tx1"/>
          </a:solidFill>
          <a:latin typeface="+mn-lt"/>
          <a:cs typeface="+mn-cs"/>
        </a:defRPr>
      </a:lvl3pPr>
      <a:lvl4pPr marL="774700" indent="-177800" algn="l" defTabSz="457200" rtl="0" fontAlgn="base">
        <a:spcBef>
          <a:spcPts val="150"/>
        </a:spcBef>
        <a:spcAft>
          <a:spcPct val="0"/>
        </a:spcAft>
        <a:buSzPct val="100000"/>
        <a:buFont typeface="Verdana" pitchFamily="34" charset="0"/>
        <a:buChar char="–"/>
        <a:defRPr sz="1400">
          <a:solidFill>
            <a:schemeClr val="tx1"/>
          </a:solidFill>
          <a:latin typeface="+mn-lt"/>
          <a:cs typeface="+mn-cs"/>
        </a:defRPr>
      </a:lvl4pPr>
      <a:lvl5pPr marL="952500" indent="-139700" algn="l" defTabSz="457200" rtl="0" fontAlgn="base">
        <a:spcBef>
          <a:spcPts val="50"/>
        </a:spcBef>
        <a:spcAft>
          <a:spcPct val="0"/>
        </a:spcAft>
        <a:buSzPct val="100000"/>
        <a:buFont typeface="Arial" pitchFamily="34" charset="0"/>
        <a:buChar char="•"/>
        <a:defRPr sz="1200">
          <a:solidFill>
            <a:schemeClr val="tx1"/>
          </a:solidFill>
          <a:latin typeface="+mn-lt"/>
          <a:cs typeface="+mn-cs"/>
        </a:defRPr>
      </a:lvl5pPr>
      <a:lvl6pPr marL="1409700" indent="-139700" algn="l" defTabSz="457200" rtl="0" fontAlgn="base">
        <a:spcBef>
          <a:spcPts val="50"/>
        </a:spcBef>
        <a:spcAft>
          <a:spcPct val="0"/>
        </a:spcAft>
        <a:buSzPct val="100000"/>
        <a:buFont typeface="Arial" pitchFamily="34" charset="0"/>
        <a:buChar char="•"/>
        <a:defRPr sz="1200">
          <a:solidFill>
            <a:schemeClr val="tx1"/>
          </a:solidFill>
          <a:latin typeface="+mn-lt"/>
          <a:cs typeface="+mn-cs"/>
        </a:defRPr>
      </a:lvl6pPr>
      <a:lvl7pPr marL="1866900" indent="-139700" algn="l" defTabSz="457200" rtl="0" fontAlgn="base">
        <a:spcBef>
          <a:spcPts val="50"/>
        </a:spcBef>
        <a:spcAft>
          <a:spcPct val="0"/>
        </a:spcAft>
        <a:buSzPct val="100000"/>
        <a:buFont typeface="Arial" pitchFamily="34" charset="0"/>
        <a:buChar char="•"/>
        <a:defRPr sz="1200">
          <a:solidFill>
            <a:schemeClr val="tx1"/>
          </a:solidFill>
          <a:latin typeface="+mn-lt"/>
          <a:cs typeface="+mn-cs"/>
        </a:defRPr>
      </a:lvl7pPr>
      <a:lvl8pPr marL="2324100" indent="-139700" algn="l" defTabSz="457200" rtl="0" fontAlgn="base">
        <a:spcBef>
          <a:spcPts val="50"/>
        </a:spcBef>
        <a:spcAft>
          <a:spcPct val="0"/>
        </a:spcAft>
        <a:buSzPct val="100000"/>
        <a:buFont typeface="Arial" pitchFamily="34" charset="0"/>
        <a:buChar char="•"/>
        <a:defRPr sz="1200">
          <a:solidFill>
            <a:schemeClr val="tx1"/>
          </a:solidFill>
          <a:latin typeface="+mn-lt"/>
          <a:cs typeface="+mn-cs"/>
        </a:defRPr>
      </a:lvl8pPr>
      <a:lvl9pPr marL="2781300" indent="-139700" algn="l" defTabSz="457200" rtl="0" fontAlgn="base">
        <a:spcBef>
          <a:spcPts val="50"/>
        </a:spcBef>
        <a:spcAft>
          <a:spcPct val="0"/>
        </a:spcAft>
        <a:buSzPct val="100000"/>
        <a:buFont typeface="Arial" pitchFamily="34" charset="0"/>
        <a:buChar char="•"/>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92608"/>
            <a:ext cx="8640000" cy="64800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73075" y="1096963"/>
            <a:ext cx="8418924" cy="496694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452022" y="6419614"/>
            <a:ext cx="5029200" cy="276226"/>
          </a:xfrm>
          <a:prstGeom prst="rect">
            <a:avLst/>
          </a:prstGeom>
        </p:spPr>
        <p:txBody>
          <a:bodyPr vert="horz" lIns="0" tIns="0" rIns="0" bIns="0" rtlCol="0" anchor="ctr"/>
          <a:lstStyle>
            <a:lvl1pPr algn="l">
              <a:defRPr sz="800">
                <a:solidFill>
                  <a:schemeClr val="tx1"/>
                </a:solidFill>
                <a:latin typeface="Verdana"/>
                <a:cs typeface="Verdana"/>
              </a:defRPr>
            </a:lvl1pPr>
          </a:lstStyle>
          <a:p>
            <a:pPr defTabSz="457200" fontAlgn="auto">
              <a:spcBef>
                <a:spcPts val="0"/>
              </a:spcBef>
              <a:spcAft>
                <a:spcPts val="0"/>
              </a:spcAft>
            </a:pPr>
            <a:r>
              <a:rPr lang="en-US" dirty="0" smtClean="0">
                <a:solidFill>
                  <a:prstClr val="black"/>
                </a:solidFill>
              </a:rPr>
              <a:t>| Document Title | Date</a:t>
            </a:r>
            <a:endParaRPr lang="en-US" dirty="0">
              <a:solidFill>
                <a:prstClr val="black"/>
              </a:solidFill>
            </a:endParaRPr>
          </a:p>
        </p:txBody>
      </p:sp>
      <p:sp>
        <p:nvSpPr>
          <p:cNvPr id="6" name="Slide Number Placeholder 5"/>
          <p:cNvSpPr>
            <a:spLocks noGrp="1"/>
          </p:cNvSpPr>
          <p:nvPr>
            <p:ph type="sldNum" sz="quarter" idx="4"/>
          </p:nvPr>
        </p:nvSpPr>
        <p:spPr>
          <a:xfrm>
            <a:off x="58331" y="6419614"/>
            <a:ext cx="336550" cy="276226"/>
          </a:xfrm>
          <a:prstGeom prst="rect">
            <a:avLst/>
          </a:prstGeom>
        </p:spPr>
        <p:txBody>
          <a:bodyPr vert="horz" lIns="0" tIns="0" rIns="0" bIns="0" rtlCol="0" anchor="ctr"/>
          <a:lstStyle>
            <a:lvl1pPr algn="r">
              <a:defRPr sz="800">
                <a:solidFill>
                  <a:schemeClr val="tx1"/>
                </a:solidFill>
                <a:latin typeface="Verdana"/>
                <a:cs typeface="Verdana"/>
              </a:defRPr>
            </a:lvl1pPr>
          </a:lstStyle>
          <a:p>
            <a:pPr defTabSz="457200" fontAlgn="auto">
              <a:spcBef>
                <a:spcPts val="0"/>
              </a:spcBef>
              <a:spcAft>
                <a:spcPts val="0"/>
              </a:spcAft>
            </a:pPr>
            <a:fld id="{924AB324-2015-404C-B61B-562C7B72081B}" type="slidenum">
              <a:rPr lang="en-US" smtClean="0">
                <a:solidFill>
                  <a:prstClr val="black"/>
                </a:solidFill>
              </a:rPr>
              <a:pPr defTabSz="457200" fontAlgn="auto">
                <a:spcBef>
                  <a:spcPts val="0"/>
                </a:spcBef>
                <a:spcAft>
                  <a:spcPts val="0"/>
                </a:spcAft>
              </a:pPr>
              <a:t>‹#›</a:t>
            </a:fld>
            <a:endParaRPr lang="en-US" dirty="0">
              <a:solidFill>
                <a:prstClr val="black"/>
              </a:solidFill>
            </a:endParaRPr>
          </a:p>
        </p:txBody>
      </p:sp>
      <p:pic>
        <p:nvPicPr>
          <p:cNvPr id="8" name="Picture 7" descr="JD_Gray_Gradient_10x-78in.png"/>
          <p:cNvPicPr>
            <a:picLocks noChangeAspect="1"/>
          </p:cNvPicPr>
          <p:nvPr userDrawn="1"/>
        </p:nvPicPr>
        <p:blipFill>
          <a:blip r:embed="rId15"/>
          <a:stretch>
            <a:fillRect/>
          </a:stretch>
        </p:blipFill>
        <p:spPr>
          <a:xfrm>
            <a:off x="377" y="6203950"/>
            <a:ext cx="9143245" cy="654050"/>
          </a:xfrm>
          <a:prstGeom prst="rect">
            <a:avLst/>
          </a:prstGeom>
        </p:spPr>
      </p:pic>
      <p:pic>
        <p:nvPicPr>
          <p:cNvPr id="7" name="Picture 19" descr="JD_gy_RGB_screen_h"/>
          <p:cNvPicPr>
            <a:picLocks noChangeAspect="1" noChangeArrowheads="1"/>
          </p:cNvPicPr>
          <p:nvPr userDrawn="1"/>
        </p:nvPicPr>
        <p:blipFill>
          <a:blip r:embed="rId16" cstate="print"/>
          <a:stretch>
            <a:fillRect/>
          </a:stretch>
        </p:blipFill>
        <p:spPr bwMode="auto">
          <a:xfrm>
            <a:off x="7189886" y="6284087"/>
            <a:ext cx="1611633" cy="493777"/>
          </a:xfrm>
          <a:prstGeom prst="rect">
            <a:avLst/>
          </a:prstGeom>
          <a:noFill/>
        </p:spPr>
      </p:pic>
      <p:sp>
        <p:nvSpPr>
          <p:cNvPr id="10" name="Slide Number Placeholder 5"/>
          <p:cNvSpPr txBox="1">
            <a:spLocks/>
          </p:cNvSpPr>
          <p:nvPr userDrawn="1"/>
        </p:nvSpPr>
        <p:spPr>
          <a:xfrm>
            <a:off x="43931" y="6383899"/>
            <a:ext cx="336550" cy="276226"/>
          </a:xfrm>
          <a:prstGeom prst="rect">
            <a:avLst/>
          </a:prstGeom>
        </p:spPr>
        <p:txBody>
          <a:bodyPr lIns="0" tIns="0" rIns="0" bIns="0" anchor="ctr" anchorCtr="0"/>
          <a:lstStyle>
            <a:lvl1pPr>
              <a:defRPr kern="400" spc="50" baseline="0">
                <a:solidFill>
                  <a:srgbClr val="666666"/>
                </a:solidFill>
              </a:defRPr>
            </a:lvl1pPr>
          </a:lstStyle>
          <a:p>
            <a:pPr algn="r" defTabSz="457200" fontAlgn="auto">
              <a:spcBef>
                <a:spcPts val="0"/>
              </a:spcBef>
              <a:spcAft>
                <a:spcPts val="0"/>
              </a:spcAft>
              <a:defRPr/>
            </a:pPr>
            <a:fld id="{924AB324-2015-404C-B61B-562C7B72081B}" type="slidenum">
              <a:rPr lang="en-US" sz="800" smtClean="0">
                <a:latin typeface="Verdana"/>
              </a:rPr>
              <a:pPr algn="r" defTabSz="457200" fontAlgn="auto">
                <a:spcBef>
                  <a:spcPts val="0"/>
                </a:spcBef>
                <a:spcAft>
                  <a:spcPts val="0"/>
                </a:spcAft>
                <a:defRPr/>
              </a:pPr>
              <a:t>‹#›</a:t>
            </a:fld>
            <a:endParaRPr lang="en-US" sz="800" dirty="0">
              <a:latin typeface="Verdana"/>
            </a:endParaRPr>
          </a:p>
        </p:txBody>
      </p:sp>
      <p:sp>
        <p:nvSpPr>
          <p:cNvPr id="11" name="Footer Placeholder 4"/>
          <p:cNvSpPr txBox="1">
            <a:spLocks/>
          </p:cNvSpPr>
          <p:nvPr userDrawn="1"/>
        </p:nvSpPr>
        <p:spPr>
          <a:xfrm>
            <a:off x="1343758" y="6377354"/>
            <a:ext cx="5029200" cy="276226"/>
          </a:xfrm>
          <a:prstGeom prst="rect">
            <a:avLst/>
          </a:prstGeom>
        </p:spPr>
        <p:txBody>
          <a:bodyPr lIns="0" tIns="0" rIns="0" bIns="0" anchor="ctr" anchorCtr="0"/>
          <a:lstStyle>
            <a:defPPr>
              <a:defRPr lang="en-US"/>
            </a:defPPr>
            <a:lvl1pPr algn="l" rtl="0" fontAlgn="base">
              <a:spcBef>
                <a:spcPct val="0"/>
              </a:spcBef>
              <a:spcAft>
                <a:spcPct val="0"/>
              </a:spcAft>
              <a:defRPr b="1" kern="1200">
                <a:solidFill>
                  <a:schemeClr val="tx1"/>
                </a:solidFill>
                <a:latin typeface="Verdana" pitchFamily="34" charset="0"/>
                <a:ea typeface="+mn-ea"/>
                <a:cs typeface="+mn-cs"/>
              </a:defRPr>
            </a:lvl1pPr>
            <a:lvl2pPr marL="457200" algn="l" rtl="0" fontAlgn="base">
              <a:spcBef>
                <a:spcPct val="0"/>
              </a:spcBef>
              <a:spcAft>
                <a:spcPct val="0"/>
              </a:spcAft>
              <a:defRPr b="1" kern="1200">
                <a:solidFill>
                  <a:schemeClr val="tx1"/>
                </a:solidFill>
                <a:latin typeface="Verdana" pitchFamily="34" charset="0"/>
                <a:ea typeface="+mn-ea"/>
                <a:cs typeface="+mn-cs"/>
              </a:defRPr>
            </a:lvl2pPr>
            <a:lvl3pPr marL="914400" algn="l" rtl="0" fontAlgn="base">
              <a:spcBef>
                <a:spcPct val="0"/>
              </a:spcBef>
              <a:spcAft>
                <a:spcPct val="0"/>
              </a:spcAft>
              <a:defRPr b="1" kern="1200">
                <a:solidFill>
                  <a:schemeClr val="tx1"/>
                </a:solidFill>
                <a:latin typeface="Verdana" pitchFamily="34" charset="0"/>
                <a:ea typeface="+mn-ea"/>
                <a:cs typeface="+mn-cs"/>
              </a:defRPr>
            </a:lvl3pPr>
            <a:lvl4pPr marL="1371600" algn="l" rtl="0" fontAlgn="base">
              <a:spcBef>
                <a:spcPct val="0"/>
              </a:spcBef>
              <a:spcAft>
                <a:spcPct val="0"/>
              </a:spcAft>
              <a:defRPr b="1" kern="1200">
                <a:solidFill>
                  <a:schemeClr val="tx1"/>
                </a:solidFill>
                <a:latin typeface="Verdana" pitchFamily="34" charset="0"/>
                <a:ea typeface="+mn-ea"/>
                <a:cs typeface="+mn-cs"/>
              </a:defRPr>
            </a:lvl4pPr>
            <a:lvl5pPr marL="1828800" algn="l" rtl="0" fontAlgn="base">
              <a:spcBef>
                <a:spcPct val="0"/>
              </a:spcBef>
              <a:spcAft>
                <a:spcPct val="0"/>
              </a:spcAft>
              <a:defRPr b="1" kern="1200">
                <a:solidFill>
                  <a:schemeClr val="tx1"/>
                </a:solidFill>
                <a:latin typeface="Verdana" pitchFamily="34" charset="0"/>
                <a:ea typeface="+mn-ea"/>
                <a:cs typeface="+mn-cs"/>
              </a:defRPr>
            </a:lvl5pPr>
            <a:lvl6pPr marL="2286000" algn="l" defTabSz="914400" rtl="0" eaLnBrk="1" latinLnBrk="0" hangingPunct="1">
              <a:defRPr b="1" kern="1200">
                <a:solidFill>
                  <a:schemeClr val="tx1"/>
                </a:solidFill>
                <a:latin typeface="Verdana" pitchFamily="34" charset="0"/>
                <a:ea typeface="+mn-ea"/>
                <a:cs typeface="+mn-cs"/>
              </a:defRPr>
            </a:lvl6pPr>
            <a:lvl7pPr marL="2743200" algn="l" defTabSz="914400" rtl="0" eaLnBrk="1" latinLnBrk="0" hangingPunct="1">
              <a:defRPr b="1" kern="1200">
                <a:solidFill>
                  <a:schemeClr val="tx1"/>
                </a:solidFill>
                <a:latin typeface="Verdana" pitchFamily="34" charset="0"/>
                <a:ea typeface="+mn-ea"/>
                <a:cs typeface="+mn-cs"/>
              </a:defRPr>
            </a:lvl7pPr>
            <a:lvl8pPr marL="3200400" algn="l" defTabSz="914400" rtl="0" eaLnBrk="1" latinLnBrk="0" hangingPunct="1">
              <a:defRPr b="1" kern="1200">
                <a:solidFill>
                  <a:schemeClr val="tx1"/>
                </a:solidFill>
                <a:latin typeface="Verdana" pitchFamily="34" charset="0"/>
                <a:ea typeface="+mn-ea"/>
                <a:cs typeface="+mn-cs"/>
              </a:defRPr>
            </a:lvl8pPr>
            <a:lvl9pPr marL="3657600" algn="l" defTabSz="914400" rtl="0" eaLnBrk="1" latinLnBrk="0" hangingPunct="1">
              <a:defRPr b="1" kern="1200">
                <a:solidFill>
                  <a:schemeClr val="tx1"/>
                </a:solidFill>
                <a:latin typeface="Verdana" pitchFamily="34" charset="0"/>
                <a:ea typeface="+mn-ea"/>
                <a:cs typeface="+mn-cs"/>
              </a:defRPr>
            </a:lvl9pPr>
          </a:lstStyle>
          <a:p>
            <a:pPr defTabSz="457200" fontAlgn="auto">
              <a:spcBef>
                <a:spcPts val="0"/>
              </a:spcBef>
              <a:spcAft>
                <a:spcPts val="0"/>
              </a:spcAft>
              <a:defRPr/>
            </a:pPr>
            <a:r>
              <a:rPr lang="en-US" sz="800" b="0" kern="400" spc="50" dirty="0" smtClean="0">
                <a:solidFill>
                  <a:srgbClr val="666666"/>
                </a:solidFill>
                <a:latin typeface="Verdana"/>
              </a:rPr>
              <a:t>| Immersion| Africa Prioritization | 10 October 2013</a:t>
            </a:r>
            <a:endParaRPr lang="en-US" sz="800" b="0" kern="400" spc="50" dirty="0">
              <a:solidFill>
                <a:srgbClr val="666666"/>
              </a:solidFill>
              <a:latin typeface="Verdana"/>
            </a:endParaRPr>
          </a:p>
        </p:txBody>
      </p:sp>
      <p:pic>
        <p:nvPicPr>
          <p:cNvPr id="13" name="Picture 28" descr="Res%2072%20Eng"/>
          <p:cNvPicPr>
            <a:picLocks noChangeAspect="1" noChangeArrowheads="1"/>
          </p:cNvPicPr>
          <p:nvPr userDrawn="1">
            <p:custDataLst>
              <p:tags r:id="rId14"/>
            </p:custDataLst>
          </p:nvPr>
        </p:nvPicPr>
        <p:blipFill>
          <a:blip r:embed="rId17"/>
          <a:srcRect/>
          <a:stretch>
            <a:fillRect/>
          </a:stretch>
        </p:blipFill>
        <p:spPr bwMode="auto">
          <a:xfrm>
            <a:off x="473075" y="6400800"/>
            <a:ext cx="800100" cy="303213"/>
          </a:xfrm>
          <a:prstGeom prst="rect">
            <a:avLst/>
          </a:prstGeom>
          <a:noFill/>
          <a:ln w="9525">
            <a:noFill/>
            <a:miter lim="800000"/>
            <a:headEnd/>
            <a:tailEnd/>
          </a:ln>
        </p:spPr>
      </p:pic>
    </p:spTree>
    <p:extLst>
      <p:ext uri="{BB962C8B-B14F-4D97-AF65-F5344CB8AC3E}">
        <p14:creationId xmlns:p14="http://schemas.microsoft.com/office/powerpoint/2010/main" xmlns="" val="12676364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Lst>
  <p:timing>
    <p:tnLst>
      <p:par>
        <p:cTn id="1" dur="indefinite" restart="never" nodeType="tmRoot"/>
      </p:par>
    </p:tnLst>
  </p:timing>
  <p:hf hdr="0" dt="0"/>
  <p:txStyles>
    <p:titleStyle>
      <a:lvl1pPr algn="l" defTabSz="457200" rtl="0" eaLnBrk="1" latinLnBrk="0" hangingPunct="1">
        <a:lnSpc>
          <a:spcPts val="2600"/>
        </a:lnSpc>
        <a:spcBef>
          <a:spcPct val="0"/>
        </a:spcBef>
        <a:buNone/>
        <a:defRPr sz="2200" b="1" kern="1200" spc="-50" baseline="0">
          <a:solidFill>
            <a:schemeClr val="accent1"/>
          </a:solidFill>
          <a:latin typeface="Verdana"/>
          <a:ea typeface="+mj-ea"/>
          <a:cs typeface="Verdana"/>
        </a:defRPr>
      </a:lvl1pPr>
    </p:titleStyle>
    <p:bodyStyle>
      <a:lvl1pPr marL="0" indent="0" algn="l" defTabSz="457200" rtl="0" eaLnBrk="1" latinLnBrk="0" hangingPunct="1">
        <a:spcBef>
          <a:spcPts val="1000"/>
        </a:spcBef>
        <a:buSzPct val="75000"/>
        <a:buFont typeface="Wingdings" pitchFamily="2" charset="2"/>
        <a:buNone/>
        <a:tabLst/>
        <a:defRPr sz="2000" kern="1200">
          <a:solidFill>
            <a:srgbClr val="006600"/>
          </a:solidFill>
          <a:latin typeface="Verdana"/>
          <a:ea typeface="+mn-ea"/>
          <a:cs typeface="Verdana"/>
        </a:defRPr>
      </a:lvl1pPr>
      <a:lvl2pPr marL="361950" indent="-180975" algn="l" defTabSz="457200" rtl="0" eaLnBrk="1" latinLnBrk="0" hangingPunct="1">
        <a:spcBef>
          <a:spcPts val="600"/>
        </a:spcBef>
        <a:buSzPct val="100000"/>
        <a:buFont typeface="Wingdings" pitchFamily="2" charset="2"/>
        <a:buChar char="§"/>
        <a:defRPr sz="1800" kern="1200" baseline="0">
          <a:solidFill>
            <a:srgbClr val="006600"/>
          </a:solidFill>
          <a:latin typeface="Verdana"/>
          <a:ea typeface="+mn-ea"/>
          <a:cs typeface="Verdana"/>
        </a:defRPr>
      </a:lvl2pPr>
      <a:lvl3pPr marL="546100" indent="-209550" algn="l" defTabSz="457200" rtl="0" eaLnBrk="1" latinLnBrk="0" hangingPunct="1">
        <a:spcBef>
          <a:spcPts val="300"/>
        </a:spcBef>
        <a:buFont typeface="Arial" pitchFamily="34" charset="0"/>
        <a:buChar char="•"/>
        <a:defRPr sz="1600" kern="1200" baseline="0">
          <a:solidFill>
            <a:srgbClr val="006600"/>
          </a:solidFill>
          <a:latin typeface="Verdana"/>
          <a:ea typeface="+mn-ea"/>
          <a:cs typeface="Verdana"/>
        </a:defRPr>
      </a:lvl3pPr>
      <a:lvl4pPr marL="627063" indent="-180975" algn="l" defTabSz="457200" rtl="0" eaLnBrk="1" latinLnBrk="0" hangingPunct="1">
        <a:spcBef>
          <a:spcPts val="150"/>
        </a:spcBef>
        <a:buSzPct val="100000"/>
        <a:buFont typeface="Verdana" pitchFamily="34" charset="0"/>
        <a:buChar char="–"/>
        <a:defRPr sz="1400" i="1" kern="1200" baseline="0">
          <a:solidFill>
            <a:srgbClr val="006600"/>
          </a:solidFill>
          <a:latin typeface="Verdana"/>
          <a:ea typeface="+mn-ea"/>
          <a:cs typeface="Verdana"/>
        </a:defRPr>
      </a:lvl4pPr>
      <a:lvl5pPr marL="952500" indent="-139700" algn="l" defTabSz="457200" rtl="0" eaLnBrk="1" latinLnBrk="0" hangingPunct="1">
        <a:spcBef>
          <a:spcPts val="50"/>
        </a:spcBef>
        <a:buSzPct val="100000"/>
        <a:buFont typeface="Arial" pitchFamily="34" charset="0"/>
        <a:buChar char="•"/>
        <a:defRPr sz="1200" kern="1200">
          <a:solidFill>
            <a:srgbClr val="006600"/>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chart" Target="../charts/char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notesSlide" Target="../notesSlides/notesSlide9.xml"/><Relationship Id="rId4"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0.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6.jpeg"/><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chart" Target="../charts/chart9.xml"/><Relationship Id="rId7" Type="http://schemas.openxmlformats.org/officeDocument/2006/relationships/diagramColors" Target="../diagrams/colors2.xml"/><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microsoft.com/office/2007/relationships/diagramDrawing" Target="../diagrams/drawing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diagramColors" Target="../diagrams/colors3.xml"/><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microsoft.com/office/2007/relationships/diagramDrawing" Target="../diagrams/drawing3.xml"/></Relationships>
</file>

<file path=ppt/slides/_rels/slide1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9.jpeg"/><Relationship Id="rId7" Type="http://schemas.openxmlformats.org/officeDocument/2006/relationships/diagramColors" Target="../diagrams/colors4.xml"/><Relationship Id="rId2" Type="http://schemas.openxmlformats.org/officeDocument/2006/relationships/chart" Target="../charts/chart10.xml"/><Relationship Id="rId1" Type="http://schemas.openxmlformats.org/officeDocument/2006/relationships/slideLayout" Target="../slideLayouts/slideLayout20.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diagramData" Target="../diagrams/data5.xml"/><Relationship Id="rId7"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diagramColors" Target="../diagrams/colors6.xml"/><Relationship Id="rId11" Type="http://schemas.microsoft.com/office/2007/relationships/diagramDrawing" Target="../diagrams/drawing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oleObject" Target="../embeddings/oleObject3.bin"/><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notesSlide" Target="../notesSlides/notesSlide16.xml"/><Relationship Id="rId5" Type="http://schemas.openxmlformats.org/officeDocument/2006/relationships/tags" Target="../tags/tag25.xml"/><Relationship Id="rId10" Type="http://schemas.openxmlformats.org/officeDocument/2006/relationships/slideLayout" Target="../slideLayouts/slideLayout20.xml"/><Relationship Id="rId4" Type="http://schemas.openxmlformats.org/officeDocument/2006/relationships/tags" Target="../tags/tag24.xml"/><Relationship Id="rId9" Type="http://schemas.openxmlformats.org/officeDocument/2006/relationships/tags" Target="../tags/tag29.xml"/></Relationships>
</file>

<file path=ppt/slides/_rels/slide22.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image" Target="../media/image22.pn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slideLayout" Target="../slideLayouts/slideLayout21.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oleObject" Target="../embeddings/oleObject5.bin"/><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oleObject" Target="../embeddings/oleObject4.bin"/><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tags" Target="../tags/tag57.xml"/><Relationship Id="rId4" Type="http://schemas.openxmlformats.org/officeDocument/2006/relationships/chart" Target="../charts/char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22.xml"/><Relationship Id="rId1" Type="http://schemas.openxmlformats.org/officeDocument/2006/relationships/tags" Target="../tags/tag5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microsoft.com/office/2007/relationships/hdphoto" Target="../media/hdphoto1.wdp"/><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vmlDrawing" Target="../drawings/vmlDrawing1.vml"/><Relationship Id="rId4" Type="http://schemas.openxmlformats.org/officeDocument/2006/relationships/oleObject" Target="file:///\\jdshare\Govt_Affairs\JBP%20Presentations\Data\Current\PSD.Data_Production.Consumption&amp;Global.End.Stocks&amp;Stock-Use.Ratio.V2.xlsx!Prod.Consum_Course%20grain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notesSlide" Target="../notesSlides/notesSlide6.xml"/><Relationship Id="rId5" Type="http://schemas.openxmlformats.org/officeDocument/2006/relationships/tags" Target="../tags/tag5.xml"/><Relationship Id="rId10" Type="http://schemas.openxmlformats.org/officeDocument/2006/relationships/slideLayout" Target="../slideLayouts/slideLayout20.xml"/><Relationship Id="rId4" Type="http://schemas.openxmlformats.org/officeDocument/2006/relationships/tags" Target="../tags/tag4.xml"/><Relationship Id="rId9" Type="http://schemas.openxmlformats.org/officeDocument/2006/relationships/tags" Target="../tags/tag9.xml"/></Relationships>
</file>

<file path=ppt/slides/_rels/slide9.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2.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notesSlide" Target="../notesSlides/notesSlide7.xml"/><Relationship Id="rId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tags" Target="../tags/tag12.xml"/><Relationship Id="rId9"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ChangeArrowheads="1"/>
          </p:cNvSpPr>
          <p:nvPr/>
        </p:nvSpPr>
        <p:spPr bwMode="auto">
          <a:xfrm>
            <a:off x="295273" y="465679"/>
            <a:ext cx="5376321" cy="664797"/>
          </a:xfrm>
          <a:prstGeom prst="rect">
            <a:avLst/>
          </a:prstGeom>
          <a:noFill/>
          <a:ln w="9525" algn="ctr">
            <a:noFill/>
            <a:miter lim="800000"/>
            <a:headEnd/>
            <a:tailEnd/>
          </a:ln>
          <a:effectLst>
            <a:outerShdw dist="12700" dir="16200000" algn="ctr" rotWithShape="0">
              <a:schemeClr val="tx1">
                <a:alpha val="50000"/>
              </a:schemeClr>
            </a:outerShdw>
          </a:effectLst>
        </p:spPr>
        <p:txBody>
          <a:bodyPr wrap="square" lIns="0" tIns="0" rIns="0" bIns="0">
            <a:spAutoFit/>
          </a:bodyPr>
          <a:lstStyle/>
          <a:p>
            <a:pPr defTabSz="912813">
              <a:lnSpc>
                <a:spcPct val="90000"/>
              </a:lnSpc>
            </a:pPr>
            <a:r>
              <a:rPr lang="en-US" altLang="ko-KR" sz="2400" b="1" dirty="0" smtClean="0">
                <a:solidFill>
                  <a:srgbClr val="367C2B"/>
                </a:solidFill>
                <a:latin typeface="+mj-lt"/>
                <a:ea typeface="Gulim" pitchFamily="34" charset="-127"/>
              </a:rPr>
              <a:t>African Agricultural and </a:t>
            </a:r>
            <a:r>
              <a:rPr lang="en-US" sz="2400" b="1" dirty="0" smtClean="0">
                <a:solidFill>
                  <a:srgbClr val="367C2B"/>
                </a:solidFill>
                <a:latin typeface="+mj-lt"/>
              </a:rPr>
              <a:t>Mechanization Trends</a:t>
            </a:r>
            <a:endParaRPr lang="en-US" altLang="ko-KR" sz="2400" b="1" dirty="0">
              <a:solidFill>
                <a:srgbClr val="367C2B"/>
              </a:solidFill>
              <a:latin typeface="+mj-lt"/>
              <a:ea typeface="Gulim" pitchFamily="34" charset="-127"/>
            </a:endParaRPr>
          </a:p>
        </p:txBody>
      </p:sp>
      <p:pic>
        <p:nvPicPr>
          <p:cNvPr id="12" name="Picture 11" descr="JD_bar_gy_4c_10in.png"/>
          <p:cNvPicPr>
            <a:picLocks noChangeAspect="1"/>
          </p:cNvPicPr>
          <p:nvPr/>
        </p:nvPicPr>
        <p:blipFill>
          <a:blip r:embed="rId2"/>
          <a:stretch>
            <a:fillRect/>
          </a:stretch>
        </p:blipFill>
        <p:spPr>
          <a:xfrm>
            <a:off x="-378" y="1312777"/>
            <a:ext cx="9144000" cy="228600"/>
          </a:xfrm>
          <a:prstGeom prst="rect">
            <a:avLst/>
          </a:prstGeom>
        </p:spPr>
      </p:pic>
    </p:spTree>
    <p:extLst>
      <p:ext uri="{BB962C8B-B14F-4D97-AF65-F5344CB8AC3E}">
        <p14:creationId xmlns:p14="http://schemas.microsoft.com/office/powerpoint/2010/main" xmlns="" val="156014805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73075" y="2631688"/>
            <a:ext cx="8164513" cy="325476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graphicFrame>
        <p:nvGraphicFramePr>
          <p:cNvPr id="5" name="Chart 4"/>
          <p:cNvGraphicFramePr>
            <a:graphicFrameLocks/>
          </p:cNvGraphicFramePr>
          <p:nvPr>
            <p:extLst>
              <p:ext uri="{D42A27DB-BD31-4B8C-83A1-F6EECF244321}">
                <p14:modId xmlns:p14="http://schemas.microsoft.com/office/powerpoint/2010/main" xmlns="" val="1149593010"/>
              </p:ext>
            </p:extLst>
          </p:nvPr>
        </p:nvGraphicFramePr>
        <p:xfrm>
          <a:off x="5174146" y="2801806"/>
          <a:ext cx="3463442" cy="281829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200" y="292608"/>
            <a:ext cx="7928517" cy="648229"/>
          </a:xfrm>
        </p:spPr>
        <p:txBody>
          <a:bodyPr/>
          <a:lstStyle/>
          <a:p>
            <a:pPr>
              <a:lnSpc>
                <a:spcPts val="2500"/>
              </a:lnSpc>
            </a:pPr>
            <a:r>
              <a:rPr lang="en-US" dirty="0" smtClean="0"/>
              <a:t>Gross value of crop production in SSA* totaled $201 Billion in 2010, and was largely the result of a few key crops</a:t>
            </a:r>
            <a:endParaRPr lang="en-US" dirty="0"/>
          </a:p>
        </p:txBody>
      </p:sp>
      <p:graphicFrame>
        <p:nvGraphicFramePr>
          <p:cNvPr id="8" name="Chart 7"/>
          <p:cNvGraphicFramePr>
            <a:graphicFrameLocks/>
          </p:cNvGraphicFramePr>
          <p:nvPr>
            <p:extLst>
              <p:ext uri="{D42A27DB-BD31-4B8C-83A1-F6EECF244321}">
                <p14:modId xmlns:p14="http://schemas.microsoft.com/office/powerpoint/2010/main" xmlns="" val="2359323972"/>
              </p:ext>
            </p:extLst>
          </p:nvPr>
        </p:nvGraphicFramePr>
        <p:xfrm>
          <a:off x="867905" y="2944677"/>
          <a:ext cx="3046239" cy="254673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5850850" y="5491416"/>
            <a:ext cx="1598386" cy="338554"/>
          </a:xfrm>
          <a:prstGeom prst="rect">
            <a:avLst/>
          </a:prstGeom>
          <a:noFill/>
        </p:spPr>
        <p:txBody>
          <a:bodyPr wrap="none" rtlCol="0">
            <a:spAutoFit/>
          </a:bodyPr>
          <a:lstStyle/>
          <a:p>
            <a:r>
              <a:rPr lang="en-US" sz="1600" dirty="0" smtClean="0"/>
              <a:t>Harvested Area</a:t>
            </a:r>
            <a:endParaRPr lang="en-US" sz="1600" dirty="0"/>
          </a:p>
        </p:txBody>
      </p:sp>
      <p:sp>
        <p:nvSpPr>
          <p:cNvPr id="10" name="TextBox 9"/>
          <p:cNvSpPr txBox="1"/>
          <p:nvPr/>
        </p:nvSpPr>
        <p:spPr>
          <a:xfrm>
            <a:off x="1327800" y="5491416"/>
            <a:ext cx="1729128" cy="338554"/>
          </a:xfrm>
          <a:prstGeom prst="rect">
            <a:avLst/>
          </a:prstGeom>
          <a:noFill/>
        </p:spPr>
        <p:txBody>
          <a:bodyPr wrap="none" rtlCol="0">
            <a:spAutoFit/>
          </a:bodyPr>
          <a:lstStyle/>
          <a:p>
            <a:r>
              <a:rPr lang="en-US" sz="1600" dirty="0" smtClean="0"/>
              <a:t>Production Value</a:t>
            </a:r>
            <a:endParaRPr lang="en-US" sz="1600" dirty="0"/>
          </a:p>
        </p:txBody>
      </p:sp>
      <p:sp>
        <p:nvSpPr>
          <p:cNvPr id="11" name="TextBox 10"/>
          <p:cNvSpPr txBox="1"/>
          <p:nvPr/>
        </p:nvSpPr>
        <p:spPr>
          <a:xfrm>
            <a:off x="350414" y="5975904"/>
            <a:ext cx="4857208" cy="215444"/>
          </a:xfrm>
          <a:prstGeom prst="rect">
            <a:avLst/>
          </a:prstGeom>
          <a:noFill/>
        </p:spPr>
        <p:txBody>
          <a:bodyPr wrap="square" rtlCol="0">
            <a:spAutoFit/>
          </a:bodyPr>
          <a:lstStyle/>
          <a:p>
            <a:r>
              <a:rPr lang="en-US" sz="800" dirty="0" smtClean="0">
                <a:latin typeface="+mj-lt"/>
              </a:rPr>
              <a:t>Source:  FAO, Harvested Area (185M ha)           </a:t>
            </a:r>
            <a:r>
              <a:rPr lang="en-US" sz="800" baseline="-25000" dirty="0" smtClean="0">
                <a:latin typeface="+mj-lt"/>
              </a:rPr>
              <a:t>*</a:t>
            </a:r>
            <a:r>
              <a:rPr lang="en-US" sz="800" dirty="0" smtClean="0">
                <a:latin typeface="+mj-lt"/>
              </a:rPr>
              <a:t> 26 countries reporting </a:t>
            </a:r>
            <a:endParaRPr lang="en-US" sz="800" dirty="0">
              <a:latin typeface="+mj-lt"/>
            </a:endParaRPr>
          </a:p>
        </p:txBody>
      </p:sp>
      <p:graphicFrame>
        <p:nvGraphicFramePr>
          <p:cNvPr id="6" name="Table 5"/>
          <p:cNvGraphicFramePr>
            <a:graphicFrameLocks noGrp="1"/>
          </p:cNvGraphicFramePr>
          <p:nvPr>
            <p:extLst>
              <p:ext uri="{D42A27DB-BD31-4B8C-83A1-F6EECF244321}">
                <p14:modId xmlns:p14="http://schemas.microsoft.com/office/powerpoint/2010/main" xmlns="" val="2712970772"/>
              </p:ext>
            </p:extLst>
          </p:nvPr>
        </p:nvGraphicFramePr>
        <p:xfrm>
          <a:off x="468351" y="1382752"/>
          <a:ext cx="8129240" cy="1158240"/>
        </p:xfrm>
        <a:graphic>
          <a:graphicData uri="http://schemas.openxmlformats.org/drawingml/2006/table">
            <a:tbl>
              <a:tblPr/>
              <a:tblGrid>
                <a:gridCol w="1306020"/>
                <a:gridCol w="1331244"/>
                <a:gridCol w="1321420"/>
                <a:gridCol w="289932"/>
                <a:gridCol w="1127388"/>
                <a:gridCol w="1303577"/>
                <a:gridCol w="1449659"/>
              </a:tblGrid>
              <a:tr h="211873">
                <a:tc>
                  <a:txBody>
                    <a:bodyPr/>
                    <a:lstStyle/>
                    <a:p>
                      <a:r>
                        <a:rPr lang="en-US" sz="1300" dirty="0" smtClean="0"/>
                        <a:t>Yams</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30.9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15.4%)</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smtClean="0"/>
                        <a:t>Sorghum</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8.8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4.4%)</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1873">
                <a:tc>
                  <a:txBody>
                    <a:bodyPr/>
                    <a:lstStyle/>
                    <a:p>
                      <a:r>
                        <a:rPr lang="en-US" sz="1300" dirty="0" smtClean="0"/>
                        <a:t>Cassava</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24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11.9%)</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smtClean="0"/>
                        <a:t>Fruit</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29.6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14.7%)</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11873">
                <a:tc>
                  <a:txBody>
                    <a:bodyPr/>
                    <a:lstStyle/>
                    <a:p>
                      <a:r>
                        <a:rPr lang="en-US" sz="1300" dirty="0" smtClean="0"/>
                        <a:t>Rice</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17.8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300" dirty="0" smtClean="0"/>
                        <a:t>(8.8%)</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300" dirty="0" smtClean="0"/>
                        <a:t>Vegetables</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22.5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11.2%)</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11873">
                <a:tc>
                  <a:txBody>
                    <a:bodyPr/>
                    <a:lstStyle/>
                    <a:p>
                      <a:r>
                        <a:rPr lang="en-US" sz="1300" dirty="0" smtClean="0"/>
                        <a:t>Maize</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13 billion</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300" dirty="0" smtClean="0"/>
                        <a:t>(6.4%)</a:t>
                      </a:r>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3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49" name="Group 48"/>
          <p:cNvGrpSpPr/>
          <p:nvPr/>
        </p:nvGrpSpPr>
        <p:grpSpPr>
          <a:xfrm>
            <a:off x="3791420" y="3226459"/>
            <a:ext cx="1546083" cy="2095552"/>
            <a:chOff x="12603163" y="3494088"/>
            <a:chExt cx="1340068" cy="1737337"/>
          </a:xfrm>
        </p:grpSpPr>
        <p:sp>
          <p:nvSpPr>
            <p:cNvPr id="33" name="Rectangle 21"/>
            <p:cNvSpPr>
              <a:spLocks noChangeArrowheads="1"/>
            </p:cNvSpPr>
            <p:nvPr/>
          </p:nvSpPr>
          <p:spPr bwMode="auto">
            <a:xfrm>
              <a:off x="12603163" y="3541713"/>
              <a:ext cx="68262" cy="69850"/>
            </a:xfrm>
            <a:prstGeom prst="rect">
              <a:avLst/>
            </a:prstGeom>
            <a:solidFill>
              <a:srgbClr val="2F6D2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34" name="Rectangle 22"/>
            <p:cNvSpPr>
              <a:spLocks noChangeArrowheads="1"/>
            </p:cNvSpPr>
            <p:nvPr/>
          </p:nvSpPr>
          <p:spPr bwMode="auto">
            <a:xfrm>
              <a:off x="12778911" y="3494088"/>
              <a:ext cx="433494"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mj-lt"/>
                  <a:cs typeface="Arial" pitchFamily="34" charset="0"/>
                </a:rPr>
                <a:t>Cereals</a:t>
              </a:r>
              <a:endParaRPr kumimoji="0" lang="en-US" altLang="en-US" sz="2000" b="0" i="0" u="none" strike="noStrike" cap="none" normalizeH="0" baseline="0" dirty="0" smtClean="0">
                <a:ln>
                  <a:noFill/>
                </a:ln>
                <a:solidFill>
                  <a:schemeClr val="tx1"/>
                </a:solidFill>
                <a:effectLst/>
                <a:latin typeface="+mj-lt"/>
                <a:cs typeface="Arial" pitchFamily="34" charset="0"/>
              </a:endParaRPr>
            </a:p>
          </p:txBody>
        </p:sp>
        <p:sp>
          <p:nvSpPr>
            <p:cNvPr id="35" name="Rectangle 23"/>
            <p:cNvSpPr>
              <a:spLocks noChangeArrowheads="1"/>
            </p:cNvSpPr>
            <p:nvPr/>
          </p:nvSpPr>
          <p:spPr bwMode="auto">
            <a:xfrm>
              <a:off x="12603163" y="3771900"/>
              <a:ext cx="68262" cy="68262"/>
            </a:xfrm>
            <a:prstGeom prst="rect">
              <a:avLst/>
            </a:prstGeom>
            <a:solidFill>
              <a:srgbClr val="E2C4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36" name="Rectangle 24"/>
            <p:cNvSpPr>
              <a:spLocks noChangeArrowheads="1"/>
            </p:cNvSpPr>
            <p:nvPr/>
          </p:nvSpPr>
          <p:spPr bwMode="auto">
            <a:xfrm>
              <a:off x="12778911" y="3724275"/>
              <a:ext cx="896166"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rgbClr val="000000"/>
                  </a:solidFill>
                  <a:effectLst/>
                  <a:latin typeface="+mj-lt"/>
                  <a:cs typeface="Arial" pitchFamily="34" charset="0"/>
                </a:rPr>
                <a:t>Roots &amp; Tubers</a:t>
              </a:r>
              <a:endParaRPr kumimoji="0" lang="en-US" altLang="en-US" sz="2000" b="0" i="0" u="none" strike="noStrike" cap="none" normalizeH="0" baseline="0" dirty="0" smtClean="0">
                <a:ln>
                  <a:noFill/>
                </a:ln>
                <a:solidFill>
                  <a:schemeClr val="tx1"/>
                </a:solidFill>
                <a:effectLst/>
                <a:latin typeface="+mj-lt"/>
                <a:cs typeface="Arial" pitchFamily="34" charset="0"/>
              </a:endParaRPr>
            </a:p>
          </p:txBody>
        </p:sp>
        <p:sp>
          <p:nvSpPr>
            <p:cNvPr id="37" name="Rectangle 25"/>
            <p:cNvSpPr>
              <a:spLocks noChangeArrowheads="1"/>
            </p:cNvSpPr>
            <p:nvPr/>
          </p:nvSpPr>
          <p:spPr bwMode="auto">
            <a:xfrm>
              <a:off x="12603163" y="4000500"/>
              <a:ext cx="68262" cy="69850"/>
            </a:xfrm>
            <a:prstGeom prst="rect">
              <a:avLst/>
            </a:prstGeom>
            <a:solidFill>
              <a:srgbClr val="2C2C2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38" name="Rectangle 26"/>
            <p:cNvSpPr>
              <a:spLocks noChangeArrowheads="1"/>
            </p:cNvSpPr>
            <p:nvPr/>
          </p:nvSpPr>
          <p:spPr bwMode="auto">
            <a:xfrm>
              <a:off x="12778911" y="3952875"/>
              <a:ext cx="668304"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err="1" smtClean="0">
                  <a:ln>
                    <a:noFill/>
                  </a:ln>
                  <a:solidFill>
                    <a:srgbClr val="000000"/>
                  </a:solidFill>
                  <a:effectLst/>
                  <a:latin typeface="+mj-lt"/>
                  <a:cs typeface="Arial" pitchFamily="34" charset="0"/>
                </a:rPr>
                <a:t>Fibre</a:t>
              </a:r>
              <a:r>
                <a:rPr kumimoji="0" lang="en-US" altLang="en-US" sz="1050" b="0" i="0" u="none" strike="noStrike" cap="none" normalizeH="0" baseline="0" dirty="0" smtClean="0">
                  <a:ln>
                    <a:noFill/>
                  </a:ln>
                  <a:solidFill>
                    <a:srgbClr val="000000"/>
                  </a:solidFill>
                  <a:effectLst/>
                  <a:latin typeface="+mj-lt"/>
                  <a:cs typeface="Arial" pitchFamily="34" charset="0"/>
                </a:rPr>
                <a:t> Crops</a:t>
              </a:r>
              <a:endParaRPr kumimoji="0" lang="en-US" altLang="en-US" sz="2000" b="0" i="0" u="none" strike="noStrike" cap="none" normalizeH="0" baseline="0" dirty="0" smtClean="0">
                <a:ln>
                  <a:noFill/>
                </a:ln>
                <a:solidFill>
                  <a:schemeClr val="tx1"/>
                </a:solidFill>
                <a:effectLst/>
                <a:latin typeface="+mj-lt"/>
                <a:cs typeface="Arial" pitchFamily="34" charset="0"/>
              </a:endParaRPr>
            </a:p>
          </p:txBody>
        </p:sp>
        <p:sp>
          <p:nvSpPr>
            <p:cNvPr id="39" name="Rectangle 27"/>
            <p:cNvSpPr>
              <a:spLocks noChangeArrowheads="1"/>
            </p:cNvSpPr>
            <p:nvPr/>
          </p:nvSpPr>
          <p:spPr bwMode="auto">
            <a:xfrm>
              <a:off x="12603163" y="4229100"/>
              <a:ext cx="68262" cy="69850"/>
            </a:xfrm>
            <a:prstGeom prst="rect">
              <a:avLst/>
            </a:prstGeom>
            <a:solidFill>
              <a:srgbClr val="769B7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40" name="Rectangle 28"/>
            <p:cNvSpPr>
              <a:spLocks noChangeArrowheads="1"/>
            </p:cNvSpPr>
            <p:nvPr/>
          </p:nvSpPr>
          <p:spPr bwMode="auto">
            <a:xfrm>
              <a:off x="12778911" y="4181475"/>
              <a:ext cx="471008"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err="1" smtClean="0">
                  <a:ln>
                    <a:noFill/>
                  </a:ln>
                  <a:solidFill>
                    <a:srgbClr val="000000"/>
                  </a:solidFill>
                  <a:effectLst/>
                  <a:latin typeface="+mj-lt"/>
                  <a:cs typeface="Arial" pitchFamily="34" charset="0"/>
                </a:rPr>
                <a:t>Oilcrops</a:t>
              </a:r>
              <a:endParaRPr kumimoji="0" lang="en-US" altLang="en-US" sz="2000" b="0" i="0" u="none" strike="noStrike" cap="none" normalizeH="0" baseline="0" dirty="0" smtClean="0">
                <a:ln>
                  <a:noFill/>
                </a:ln>
                <a:solidFill>
                  <a:schemeClr val="tx1"/>
                </a:solidFill>
                <a:effectLst/>
                <a:latin typeface="+mj-lt"/>
                <a:cs typeface="Arial" pitchFamily="34" charset="0"/>
              </a:endParaRPr>
            </a:p>
          </p:txBody>
        </p:sp>
        <p:sp>
          <p:nvSpPr>
            <p:cNvPr id="41" name="Rectangle 29"/>
            <p:cNvSpPr>
              <a:spLocks noChangeArrowheads="1"/>
            </p:cNvSpPr>
            <p:nvPr/>
          </p:nvSpPr>
          <p:spPr bwMode="auto">
            <a:xfrm>
              <a:off x="12603163" y="4459288"/>
              <a:ext cx="68262" cy="68262"/>
            </a:xfrm>
            <a:prstGeom prst="rect">
              <a:avLst/>
            </a:prstGeom>
            <a:solidFill>
              <a:srgbClr val="E2D56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42" name="Rectangle 30"/>
            <p:cNvSpPr>
              <a:spLocks noChangeArrowheads="1"/>
            </p:cNvSpPr>
            <p:nvPr/>
          </p:nvSpPr>
          <p:spPr bwMode="auto">
            <a:xfrm>
              <a:off x="12778911" y="4411663"/>
              <a:ext cx="368192"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smtClean="0">
                  <a:ln>
                    <a:noFill/>
                  </a:ln>
                  <a:solidFill>
                    <a:srgbClr val="000000"/>
                  </a:solidFill>
                  <a:effectLst/>
                  <a:latin typeface="+mj-lt"/>
                  <a:cs typeface="Arial" pitchFamily="34" charset="0"/>
                </a:rPr>
                <a:t>Pulses</a:t>
              </a:r>
              <a:endParaRPr kumimoji="0" lang="en-US" altLang="en-US" sz="2000" b="0" i="0" u="none" strike="noStrike" cap="none" normalizeH="0" baseline="0" smtClean="0">
                <a:ln>
                  <a:noFill/>
                </a:ln>
                <a:solidFill>
                  <a:schemeClr val="tx1"/>
                </a:solidFill>
                <a:effectLst/>
                <a:latin typeface="+mj-lt"/>
                <a:cs typeface="Arial" pitchFamily="34" charset="0"/>
              </a:endParaRPr>
            </a:p>
          </p:txBody>
        </p:sp>
        <p:sp>
          <p:nvSpPr>
            <p:cNvPr id="43" name="Rectangle 31"/>
            <p:cNvSpPr>
              <a:spLocks noChangeArrowheads="1"/>
            </p:cNvSpPr>
            <p:nvPr/>
          </p:nvSpPr>
          <p:spPr bwMode="auto">
            <a:xfrm>
              <a:off x="12603163" y="4687888"/>
              <a:ext cx="68262" cy="68262"/>
            </a:xfrm>
            <a:prstGeom prst="rect">
              <a:avLst/>
            </a:prstGeom>
            <a:solidFill>
              <a:srgbClr val="B4B4B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44" name="Rectangle 32"/>
            <p:cNvSpPr>
              <a:spLocks noChangeArrowheads="1"/>
            </p:cNvSpPr>
            <p:nvPr/>
          </p:nvSpPr>
          <p:spPr bwMode="auto">
            <a:xfrm>
              <a:off x="12778911" y="4640263"/>
              <a:ext cx="515470"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smtClean="0">
                  <a:ln>
                    <a:noFill/>
                  </a:ln>
                  <a:solidFill>
                    <a:srgbClr val="000000"/>
                  </a:solidFill>
                  <a:effectLst/>
                  <a:latin typeface="+mj-lt"/>
                  <a:cs typeface="Arial" pitchFamily="34" charset="0"/>
                </a:rPr>
                <a:t>Treenuts</a:t>
              </a:r>
              <a:endParaRPr kumimoji="0" lang="en-US" altLang="en-US" sz="2000" b="0" i="0" u="none" strike="noStrike" cap="none" normalizeH="0" baseline="0" smtClean="0">
                <a:ln>
                  <a:noFill/>
                </a:ln>
                <a:solidFill>
                  <a:schemeClr val="tx1"/>
                </a:solidFill>
                <a:effectLst/>
                <a:latin typeface="+mj-lt"/>
                <a:cs typeface="Arial" pitchFamily="34" charset="0"/>
              </a:endParaRPr>
            </a:p>
          </p:txBody>
        </p:sp>
        <p:sp>
          <p:nvSpPr>
            <p:cNvPr id="45" name="Rectangle 33"/>
            <p:cNvSpPr>
              <a:spLocks noChangeArrowheads="1"/>
            </p:cNvSpPr>
            <p:nvPr/>
          </p:nvSpPr>
          <p:spPr bwMode="auto">
            <a:xfrm>
              <a:off x="12603163" y="4916488"/>
              <a:ext cx="68262" cy="69850"/>
            </a:xfrm>
            <a:prstGeom prst="rect">
              <a:avLst/>
            </a:prstGeom>
            <a:solidFill>
              <a:srgbClr val="8BA78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46" name="Rectangle 34"/>
            <p:cNvSpPr>
              <a:spLocks noChangeArrowheads="1"/>
            </p:cNvSpPr>
            <p:nvPr/>
          </p:nvSpPr>
          <p:spPr bwMode="auto">
            <a:xfrm>
              <a:off x="12778911" y="4868863"/>
              <a:ext cx="1164320"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smtClean="0">
                  <a:ln>
                    <a:noFill/>
                  </a:ln>
                  <a:solidFill>
                    <a:srgbClr val="000000"/>
                  </a:solidFill>
                  <a:effectLst/>
                  <a:latin typeface="+mj-lt"/>
                  <a:cs typeface="Arial" pitchFamily="34" charset="0"/>
                </a:rPr>
                <a:t>Vegetables + Melon</a:t>
              </a:r>
              <a:endParaRPr kumimoji="0" lang="en-US" altLang="en-US" sz="2000" b="0" i="0" u="none" strike="noStrike" cap="none" normalizeH="0" baseline="0" smtClean="0">
                <a:ln>
                  <a:noFill/>
                </a:ln>
                <a:solidFill>
                  <a:schemeClr val="tx1"/>
                </a:solidFill>
                <a:effectLst/>
                <a:latin typeface="+mj-lt"/>
                <a:cs typeface="Arial" pitchFamily="34" charset="0"/>
              </a:endParaRPr>
            </a:p>
          </p:txBody>
        </p:sp>
        <p:sp>
          <p:nvSpPr>
            <p:cNvPr id="47" name="Rectangle 35"/>
            <p:cNvSpPr>
              <a:spLocks noChangeArrowheads="1"/>
            </p:cNvSpPr>
            <p:nvPr/>
          </p:nvSpPr>
          <p:spPr bwMode="auto">
            <a:xfrm>
              <a:off x="12603163" y="5145088"/>
              <a:ext cx="68262" cy="69850"/>
            </a:xfrm>
            <a:prstGeom prst="rect">
              <a:avLst/>
            </a:prstGeom>
            <a:solidFill>
              <a:srgbClr val="FFE68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j-lt"/>
              </a:endParaRPr>
            </a:p>
          </p:txBody>
        </p:sp>
        <p:sp>
          <p:nvSpPr>
            <p:cNvPr id="48" name="Rectangle 36"/>
            <p:cNvSpPr>
              <a:spLocks noChangeArrowheads="1"/>
            </p:cNvSpPr>
            <p:nvPr/>
          </p:nvSpPr>
          <p:spPr bwMode="auto">
            <a:xfrm>
              <a:off x="12778911" y="5097463"/>
              <a:ext cx="268155" cy="133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smtClean="0">
                  <a:ln>
                    <a:noFill/>
                  </a:ln>
                  <a:solidFill>
                    <a:srgbClr val="000000"/>
                  </a:solidFill>
                  <a:effectLst/>
                  <a:latin typeface="+mj-lt"/>
                  <a:cs typeface="Arial" pitchFamily="34" charset="0"/>
                </a:rPr>
                <a:t>Fruit</a:t>
              </a:r>
              <a:endParaRPr kumimoji="0" lang="en-US" altLang="en-US" sz="2000" b="0" i="0" u="none" strike="noStrike" cap="none" normalizeH="0" baseline="0" smtClean="0">
                <a:ln>
                  <a:noFill/>
                </a:ln>
                <a:solidFill>
                  <a:schemeClr val="tx1"/>
                </a:solidFill>
                <a:effectLst/>
                <a:latin typeface="+mj-lt"/>
                <a:cs typeface="Arial" pitchFamily="34" charset="0"/>
              </a:endParaRPr>
            </a:p>
          </p:txBody>
        </p:sp>
      </p:grpSp>
    </p:spTree>
    <p:extLst>
      <p:ext uri="{BB962C8B-B14F-4D97-AF65-F5344CB8AC3E}">
        <p14:creationId xmlns:p14="http://schemas.microsoft.com/office/powerpoint/2010/main" xmlns="" val="17229389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5593278" y="2327563"/>
            <a:ext cx="742198" cy="2703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0" name="Rectangle 19"/>
          <p:cNvSpPr/>
          <p:nvPr/>
        </p:nvSpPr>
        <p:spPr>
          <a:xfrm>
            <a:off x="3930731" y="2327563"/>
            <a:ext cx="690743" cy="2703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9" name="Rectangle 18"/>
          <p:cNvSpPr/>
          <p:nvPr/>
        </p:nvSpPr>
        <p:spPr>
          <a:xfrm>
            <a:off x="2220686" y="2327563"/>
            <a:ext cx="665018" cy="2703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Rectangle 1"/>
          <p:cNvSpPr/>
          <p:nvPr/>
        </p:nvSpPr>
        <p:spPr>
          <a:xfrm>
            <a:off x="890649" y="2327563"/>
            <a:ext cx="760021" cy="2703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3" name="Rectangle 22"/>
          <p:cNvSpPr/>
          <p:nvPr/>
        </p:nvSpPr>
        <p:spPr>
          <a:xfrm>
            <a:off x="7303325" y="2327563"/>
            <a:ext cx="680841" cy="27036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6" name="Rectangle 15"/>
          <p:cNvSpPr/>
          <p:nvPr/>
        </p:nvSpPr>
        <p:spPr>
          <a:xfrm>
            <a:off x="0" y="0"/>
            <a:ext cx="9144000" cy="181791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grpSp>
        <p:nvGrpSpPr>
          <p:cNvPr id="237581" name="Group 13"/>
          <p:cNvGrpSpPr>
            <a:grpSpLocks/>
          </p:cNvGrpSpPr>
          <p:nvPr/>
        </p:nvGrpSpPr>
        <p:grpSpPr bwMode="auto">
          <a:xfrm>
            <a:off x="0" y="1839686"/>
            <a:ext cx="400050" cy="504825"/>
            <a:chOff x="521" y="795"/>
            <a:chExt cx="252" cy="318"/>
          </a:xfrm>
        </p:grpSpPr>
        <p:sp>
          <p:nvSpPr>
            <p:cNvPr id="10" name="Oval 9"/>
            <p:cNvSpPr/>
            <p:nvPr/>
          </p:nvSpPr>
          <p:spPr>
            <a:xfrm>
              <a:off x="550" y="884"/>
              <a:ext cx="195" cy="192"/>
            </a:xfrm>
            <a:prstGeom prst="ellipse">
              <a:avLst/>
            </a:prstGeom>
            <a:blipFill>
              <a:blip r:embed="rId6" cstate="print"/>
              <a:stretch>
                <a:fillRect/>
              </a:stretch>
            </a:blipFill>
          </p:spPr>
          <p:style>
            <a:lnRef idx="0">
              <a:schemeClr val="accent3"/>
            </a:lnRef>
            <a:fillRef idx="3">
              <a:schemeClr val="accent3"/>
            </a:fillRef>
            <a:effectRef idx="3">
              <a:schemeClr val="accent3"/>
            </a:effectRef>
            <a:fontRef idx="minor">
              <a:schemeClr val="lt1"/>
            </a:fontRef>
          </p:style>
          <p:txBody>
            <a:bodyPr anchor="ctr"/>
            <a:lstStyle/>
            <a:p>
              <a:pPr algn="ctr" defTabSz="914109" fontAlgn="auto">
                <a:spcBef>
                  <a:spcPts val="0"/>
                </a:spcBef>
                <a:spcAft>
                  <a:spcPts val="0"/>
                </a:spcAft>
                <a:defRPr/>
              </a:pPr>
              <a:endParaRPr lang="en-US" sz="1800"/>
            </a:p>
          </p:txBody>
        </p:sp>
        <p:sp>
          <p:nvSpPr>
            <p:cNvPr id="11" name="TextBox 10"/>
            <p:cNvSpPr txBox="1"/>
            <p:nvPr/>
          </p:nvSpPr>
          <p:spPr>
            <a:xfrm>
              <a:off x="552" y="832"/>
              <a:ext cx="193" cy="217"/>
            </a:xfrm>
            <a:prstGeom prst="rect">
              <a:avLst/>
            </a:prstGeom>
            <a:noFill/>
          </p:spPr>
          <p:txBody>
            <a:bodyPr spcFirstLastPara="1">
              <a:prstTxWarp prst="textArchUp">
                <a:avLst>
                  <a:gd name="adj" fmla="val 10064241"/>
                </a:avLst>
              </a:prstTxWarp>
              <a:spAutoFit/>
            </a:bodyPr>
            <a:lstStyle/>
            <a:p>
              <a:pPr algn="ctr" defTabSz="914109" fontAlgn="auto">
                <a:spcBef>
                  <a:spcPts val="0"/>
                </a:spcBef>
                <a:spcAft>
                  <a:spcPts val="0"/>
                </a:spcAft>
                <a:defRPr/>
              </a:pPr>
              <a:r>
                <a:rPr lang="en-US" sz="1000" dirty="0">
                  <a:latin typeface="+mn-lt"/>
                  <a:cs typeface="+mn-cs"/>
                </a:rPr>
                <a:t>Africa</a:t>
              </a:r>
            </a:p>
          </p:txBody>
        </p:sp>
      </p:grpSp>
      <p:sp>
        <p:nvSpPr>
          <p:cNvPr id="237579" name="Rectangle 11"/>
          <p:cNvSpPr>
            <a:spLocks noGrp="1"/>
          </p:cNvSpPr>
          <p:nvPr>
            <p:ph type="title"/>
            <p:custDataLst>
              <p:tags r:id="rId1"/>
            </p:custDataLst>
          </p:nvPr>
        </p:nvSpPr>
        <p:spPr/>
        <p:txBody>
          <a:bodyPr/>
          <a:lstStyle/>
          <a:p>
            <a:r>
              <a:rPr lang="en-US" dirty="0" smtClean="0"/>
              <a:t>18 </a:t>
            </a:r>
            <a:r>
              <a:rPr lang="en-US" dirty="0"/>
              <a:t>countries </a:t>
            </a:r>
            <a:r>
              <a:rPr lang="en-US" dirty="0" smtClean="0"/>
              <a:t>account for 85</a:t>
            </a:r>
            <a:r>
              <a:rPr lang="en-US" dirty="0"/>
              <a:t>% of </a:t>
            </a:r>
            <a:r>
              <a:rPr lang="en-US" dirty="0" smtClean="0"/>
              <a:t>the harvested </a:t>
            </a:r>
            <a:r>
              <a:rPr lang="en-US" dirty="0"/>
              <a:t>area </a:t>
            </a:r>
            <a:r>
              <a:rPr lang="en-US" dirty="0" smtClean="0"/>
              <a:t>of all </a:t>
            </a:r>
            <a:r>
              <a:rPr lang="en-US" dirty="0"/>
              <a:t>crops in </a:t>
            </a:r>
            <a:r>
              <a:rPr lang="en-US" dirty="0" smtClean="0"/>
              <a:t>SSA with high agriculture potential and macroeconomic and geopolitical stability.</a:t>
            </a:r>
            <a:endParaRPr lang="en-US" dirty="0" smtClean="0">
              <a:latin typeface="Verdana" pitchFamily="34" charset="0"/>
            </a:endParaRPr>
          </a:p>
        </p:txBody>
      </p:sp>
      <p:sp>
        <p:nvSpPr>
          <p:cNvPr id="12" name="McK 5. Source"/>
          <p:cNvSpPr>
            <a:spLocks noChangeArrowheads="1"/>
          </p:cNvSpPr>
          <p:nvPr>
            <p:custDataLst>
              <p:tags r:id="rId2"/>
            </p:custDataLst>
          </p:nvPr>
        </p:nvSpPr>
        <p:spPr bwMode="auto">
          <a:xfrm>
            <a:off x="473075" y="5881546"/>
            <a:ext cx="7604125" cy="110800"/>
          </a:xfrm>
          <a:prstGeom prst="rect">
            <a:avLst/>
          </a:prstGeom>
          <a:noFill/>
          <a:ln w="9525">
            <a:noFill/>
            <a:miter lim="800000"/>
            <a:headEnd/>
            <a:tailEnd/>
          </a:ln>
        </p:spPr>
        <p:txBody>
          <a:bodyPr lIns="0" tIns="0" rIns="0" bIns="0" anchor="ctr">
            <a:spAutoFit/>
          </a:bodyPr>
          <a:lstStyle/>
          <a:p>
            <a:pPr marL="620713" indent="-620713" defTabSz="912813">
              <a:lnSpc>
                <a:spcPct val="90000"/>
              </a:lnSpc>
              <a:tabLst>
                <a:tab pos="623888" algn="l"/>
              </a:tabLst>
            </a:pPr>
            <a:r>
              <a:rPr lang="en-GB" sz="800" dirty="0">
                <a:latin typeface="+mj-lt"/>
              </a:rPr>
              <a:t>SOURCE: </a:t>
            </a:r>
            <a:r>
              <a:rPr lang="en-GB" sz="800" dirty="0" smtClean="0">
                <a:latin typeface="+mj-lt"/>
              </a:rPr>
              <a:t>FAO, 2007-2011 Average</a:t>
            </a:r>
            <a:endParaRPr lang="en-GB" sz="800" dirty="0">
              <a:latin typeface="+mj-lt"/>
            </a:endParaRPr>
          </a:p>
        </p:txBody>
      </p:sp>
      <p:sp>
        <p:nvSpPr>
          <p:cNvPr id="14" name="Rectangle 8"/>
          <p:cNvSpPr>
            <a:spLocks/>
          </p:cNvSpPr>
          <p:nvPr>
            <p:custDataLst>
              <p:tags r:id="rId3"/>
            </p:custDataLst>
          </p:nvPr>
        </p:nvSpPr>
        <p:spPr bwMode="auto">
          <a:xfrm>
            <a:off x="682852" y="2791402"/>
            <a:ext cx="8083096" cy="422030"/>
          </a:xfrm>
          <a:prstGeom prst="rect">
            <a:avLst/>
          </a:prstGeom>
          <a:noFill/>
          <a:ln w="9525">
            <a:noFill/>
            <a:miter lim="800000"/>
            <a:headEnd/>
            <a:tailEnd/>
          </a:ln>
          <a:effectLst/>
        </p:spPr>
        <p:txBody>
          <a:bodyPr wrap="none" lIns="0" tIns="0" rIns="0" bIns="0" anchor="b"/>
          <a:lstStyle/>
          <a:p>
            <a:pPr algn="ctr">
              <a:lnSpc>
                <a:spcPct val="90000"/>
              </a:lnSpc>
            </a:pPr>
            <a:r>
              <a:rPr lang="en-US" sz="1400" b="1" dirty="0" smtClean="0">
                <a:latin typeface="Verdana" pitchFamily="34" charset="0"/>
              </a:rPr>
              <a:t>2007-2011 Average Harvested Area </a:t>
            </a:r>
            <a:r>
              <a:rPr lang="en-US" sz="1400" dirty="0" smtClean="0">
                <a:latin typeface="Verdana" pitchFamily="34" charset="0"/>
              </a:rPr>
              <a:t>(Million Hectare)</a:t>
            </a:r>
            <a:endParaRPr lang="en-US" sz="1400" dirty="0">
              <a:latin typeface="Verdana"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xmlns="" val="284530178"/>
              </p:ext>
            </p:extLst>
          </p:nvPr>
        </p:nvGraphicFramePr>
        <p:xfrm>
          <a:off x="473075" y="2155371"/>
          <a:ext cx="8164513" cy="3716893"/>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2278761" y="4970834"/>
            <a:ext cx="274434" cy="369332"/>
          </a:xfrm>
          <a:prstGeom prst="rect">
            <a:avLst/>
          </a:prstGeom>
          <a:noFill/>
        </p:spPr>
        <p:txBody>
          <a:bodyPr wrap="none" rtlCol="0">
            <a:spAutoFit/>
          </a:bodyPr>
          <a:lstStyle/>
          <a:p>
            <a:r>
              <a:rPr lang="en-US" dirty="0" smtClean="0"/>
              <a:t>*</a:t>
            </a:r>
            <a:endParaRPr lang="en-US" dirty="0"/>
          </a:p>
        </p:txBody>
      </p:sp>
      <p:sp>
        <p:nvSpPr>
          <p:cNvPr id="15" name="TextBox 14"/>
          <p:cNvSpPr txBox="1"/>
          <p:nvPr/>
        </p:nvSpPr>
        <p:spPr>
          <a:xfrm>
            <a:off x="369807" y="5994910"/>
            <a:ext cx="7674735" cy="338554"/>
          </a:xfrm>
          <a:prstGeom prst="rect">
            <a:avLst/>
          </a:prstGeom>
          <a:noFill/>
        </p:spPr>
        <p:txBody>
          <a:bodyPr wrap="square" rtlCol="0">
            <a:spAutoFit/>
          </a:bodyPr>
          <a:lstStyle/>
          <a:p>
            <a:r>
              <a:rPr lang="en-US" sz="800" dirty="0" smtClean="0">
                <a:latin typeface="+mj-lt"/>
              </a:rPr>
              <a:t>* Data representative of Sudan (former), majority of harvested area in current South Sudan</a:t>
            </a:r>
            <a:endParaRPr lang="en-US" sz="800" dirty="0">
              <a:latin typeface="+mj-lt"/>
            </a:endParaRPr>
          </a:p>
          <a:p>
            <a:endParaRPr lang="en-US" sz="800" dirty="0">
              <a:latin typeface="+mj-lt"/>
            </a:endParaRPr>
          </a:p>
        </p:txBody>
      </p:sp>
    </p:spTree>
    <p:extLst>
      <p:ext uri="{BB962C8B-B14F-4D97-AF65-F5344CB8AC3E}">
        <p14:creationId xmlns:p14="http://schemas.microsoft.com/office/powerpoint/2010/main" xmlns="" val="88181764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92" name="Rectangle 23591"/>
          <p:cNvSpPr/>
          <p:nvPr/>
        </p:nvSpPr>
        <p:spPr>
          <a:xfrm>
            <a:off x="0" y="1951463"/>
            <a:ext cx="9144000" cy="3914078"/>
          </a:xfrm>
          <a:prstGeom prst="rect">
            <a:avLst/>
          </a:prstGeom>
          <a:gradFill flip="none" rotWithShape="1">
            <a:gsLst>
              <a:gs pos="0">
                <a:schemeClr val="bg1">
                  <a:lumMod val="85000"/>
                </a:schemeClr>
              </a:gs>
              <a:gs pos="50000">
                <a:schemeClr val="bg1"/>
              </a:gs>
              <a:gs pos="100000">
                <a:schemeClr val="bg1">
                  <a:lumMod val="85000"/>
                </a:schemeClr>
              </a:gs>
            </a:gsLst>
            <a:lin ang="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dirty="0" smtClean="0"/>
              <a:t>Current yield attainment is generally higher in developed countries as a result of better agronomic practices.  Potential yield is driven by the climatic fit of each crop.</a:t>
            </a:r>
            <a:endParaRPr lang="en-US" dirty="0"/>
          </a:p>
        </p:txBody>
      </p:sp>
      <p:sp>
        <p:nvSpPr>
          <p:cNvPr id="7" name="TextBox 6"/>
          <p:cNvSpPr txBox="1"/>
          <p:nvPr/>
        </p:nvSpPr>
        <p:spPr>
          <a:xfrm>
            <a:off x="557561" y="2143158"/>
            <a:ext cx="2665142" cy="369332"/>
          </a:xfrm>
          <a:prstGeom prst="rect">
            <a:avLst/>
          </a:prstGeom>
          <a:noFill/>
        </p:spPr>
        <p:txBody>
          <a:bodyPr wrap="square" rtlCol="0">
            <a:spAutoFit/>
          </a:bodyPr>
          <a:lstStyle/>
          <a:p>
            <a:pPr algn="ctr"/>
            <a:r>
              <a:rPr lang="en-US" b="1" dirty="0" smtClean="0"/>
              <a:t>Maize</a:t>
            </a:r>
            <a:endParaRPr lang="en-US" b="1" dirty="0"/>
          </a:p>
        </p:txBody>
      </p:sp>
      <p:graphicFrame>
        <p:nvGraphicFramePr>
          <p:cNvPr id="11" name="Chart 10"/>
          <p:cNvGraphicFramePr>
            <a:graphicFrameLocks/>
          </p:cNvGraphicFramePr>
          <p:nvPr>
            <p:extLst>
              <p:ext uri="{D42A27DB-BD31-4B8C-83A1-F6EECF244321}">
                <p14:modId xmlns:p14="http://schemas.microsoft.com/office/powerpoint/2010/main" xmlns="" val="1539989608"/>
              </p:ext>
            </p:extLst>
          </p:nvPr>
        </p:nvGraphicFramePr>
        <p:xfrm>
          <a:off x="5246682" y="2386079"/>
          <a:ext cx="3575509" cy="349250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5355771" y="2143158"/>
            <a:ext cx="3418115" cy="369332"/>
          </a:xfrm>
          <a:prstGeom prst="rect">
            <a:avLst/>
          </a:prstGeom>
          <a:noFill/>
        </p:spPr>
        <p:txBody>
          <a:bodyPr wrap="square" rtlCol="0">
            <a:spAutoFit/>
          </a:bodyPr>
          <a:lstStyle/>
          <a:p>
            <a:pPr algn="ctr"/>
            <a:r>
              <a:rPr lang="en-US" b="1" dirty="0" smtClean="0"/>
              <a:t>Rice</a:t>
            </a:r>
          </a:p>
        </p:txBody>
      </p:sp>
      <p:sp>
        <p:nvSpPr>
          <p:cNvPr id="9" name="TextBox 8"/>
          <p:cNvSpPr txBox="1"/>
          <p:nvPr/>
        </p:nvSpPr>
        <p:spPr>
          <a:xfrm>
            <a:off x="353496" y="5928961"/>
            <a:ext cx="3968133" cy="369332"/>
          </a:xfrm>
          <a:prstGeom prst="rect">
            <a:avLst/>
          </a:prstGeom>
          <a:noFill/>
        </p:spPr>
        <p:txBody>
          <a:bodyPr wrap="square" rtlCol="0">
            <a:spAutoFit/>
          </a:bodyPr>
          <a:lstStyle/>
          <a:p>
            <a:r>
              <a:rPr lang="en-US" sz="900" dirty="0" smtClean="0">
                <a:latin typeface="+mj-lt"/>
              </a:rPr>
              <a:t>Source</a:t>
            </a:r>
            <a:r>
              <a:rPr lang="en-US" sz="900" dirty="0">
                <a:latin typeface="+mj-lt"/>
              </a:rPr>
              <a:t>:  </a:t>
            </a:r>
            <a:r>
              <a:rPr lang="en-US" sz="900" dirty="0" smtClean="0">
                <a:latin typeface="+mj-lt"/>
              </a:rPr>
              <a:t>Foley </a:t>
            </a:r>
            <a:r>
              <a:rPr lang="en-US" sz="900" dirty="0">
                <a:latin typeface="+mj-lt"/>
              </a:rPr>
              <a:t>at al. nature10452-s1.pdf</a:t>
            </a:r>
          </a:p>
          <a:p>
            <a:endParaRPr lang="en-US" sz="900" dirty="0">
              <a:latin typeface="+mj-lt"/>
            </a:endParaRPr>
          </a:p>
        </p:txBody>
      </p:sp>
      <p:sp>
        <p:nvSpPr>
          <p:cNvPr id="3" name="TextBox 2"/>
          <p:cNvSpPr txBox="1"/>
          <p:nvPr/>
        </p:nvSpPr>
        <p:spPr>
          <a:xfrm>
            <a:off x="186386" y="2208886"/>
            <a:ext cx="914400" cy="294063"/>
          </a:xfrm>
          <a:prstGeom prst="rect">
            <a:avLst/>
          </a:prstGeom>
          <a:noFill/>
        </p:spPr>
        <p:txBody>
          <a:bodyPr wrap="none" lIns="0" tIns="0" rIns="0" bIns="0" rtlCol="0">
            <a:noAutofit/>
          </a:bodyPr>
          <a:lstStyle/>
          <a:p>
            <a:r>
              <a:rPr lang="en-US" sz="1200" b="1" dirty="0" smtClean="0">
                <a:latin typeface="Verdana"/>
                <a:cs typeface="Verdana"/>
              </a:rPr>
              <a:t>Ton/ha</a:t>
            </a:r>
          </a:p>
        </p:txBody>
      </p:sp>
      <p:sp>
        <p:nvSpPr>
          <p:cNvPr id="13" name="TextBox 12"/>
          <p:cNvSpPr txBox="1"/>
          <p:nvPr/>
        </p:nvSpPr>
        <p:spPr>
          <a:xfrm>
            <a:off x="5025852" y="2208886"/>
            <a:ext cx="914400" cy="294063"/>
          </a:xfrm>
          <a:prstGeom prst="rect">
            <a:avLst/>
          </a:prstGeom>
          <a:noFill/>
        </p:spPr>
        <p:txBody>
          <a:bodyPr wrap="none" lIns="0" tIns="0" rIns="0" bIns="0" rtlCol="0">
            <a:noAutofit/>
          </a:bodyPr>
          <a:lstStyle/>
          <a:p>
            <a:r>
              <a:rPr lang="en-US" sz="1200" b="1" dirty="0" smtClean="0">
                <a:latin typeface="Verdana"/>
                <a:cs typeface="Verdana"/>
              </a:rPr>
              <a:t>Ton/ha</a:t>
            </a:r>
          </a:p>
        </p:txBody>
      </p:sp>
      <p:graphicFrame>
        <p:nvGraphicFramePr>
          <p:cNvPr id="14" name="Chart 13"/>
          <p:cNvGraphicFramePr>
            <a:graphicFrameLocks/>
          </p:cNvGraphicFramePr>
          <p:nvPr>
            <p:extLst>
              <p:ext uri="{D42A27DB-BD31-4B8C-83A1-F6EECF244321}">
                <p14:modId xmlns:p14="http://schemas.microsoft.com/office/powerpoint/2010/main" xmlns="" val="4185559593"/>
              </p:ext>
            </p:extLst>
          </p:nvPr>
        </p:nvGraphicFramePr>
        <p:xfrm>
          <a:off x="233906" y="2307862"/>
          <a:ext cx="5836418" cy="3469940"/>
        </p:xfrm>
        <a:graphic>
          <a:graphicData uri="http://schemas.openxmlformats.org/drawingml/2006/chart">
            <c:chart xmlns:c="http://schemas.openxmlformats.org/drawingml/2006/chart" xmlns:r="http://schemas.openxmlformats.org/officeDocument/2006/relationships" r:id="rId4"/>
          </a:graphicData>
        </a:graphic>
      </p:graphicFrame>
      <p:grpSp>
        <p:nvGrpSpPr>
          <p:cNvPr id="23591" name="Group 23590"/>
          <p:cNvGrpSpPr/>
          <p:nvPr/>
        </p:nvGrpSpPr>
        <p:grpSpPr>
          <a:xfrm>
            <a:off x="4019550" y="3274200"/>
            <a:ext cx="1077913" cy="1185863"/>
            <a:chOff x="13163550" y="3965575"/>
            <a:chExt cx="1077913" cy="1185863"/>
          </a:xfrm>
        </p:grpSpPr>
        <p:sp>
          <p:nvSpPr>
            <p:cNvPr id="23581" name="Rectangle 51"/>
            <p:cNvSpPr>
              <a:spLocks noChangeArrowheads="1"/>
            </p:cNvSpPr>
            <p:nvPr/>
          </p:nvSpPr>
          <p:spPr bwMode="auto">
            <a:xfrm>
              <a:off x="13169900" y="4013200"/>
              <a:ext cx="71438" cy="68263"/>
            </a:xfrm>
            <a:prstGeom prst="rect">
              <a:avLst/>
            </a:prstGeom>
            <a:solidFill>
              <a:srgbClr val="FFDE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2" name="Rectangle 52"/>
            <p:cNvSpPr>
              <a:spLocks noChangeArrowheads="1"/>
            </p:cNvSpPr>
            <p:nvPr/>
          </p:nvSpPr>
          <p:spPr bwMode="auto">
            <a:xfrm>
              <a:off x="13271500" y="3965575"/>
              <a:ext cx="969963"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rgbClr val="000000"/>
                  </a:solidFill>
                  <a:effectLst/>
                  <a:latin typeface="Verdana" pitchFamily="34" charset="0"/>
                  <a:cs typeface="Arial" pitchFamily="34" charset="0"/>
                </a:rPr>
                <a:t>Potential Yield</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3583" name="Rectangle 53"/>
            <p:cNvSpPr>
              <a:spLocks noChangeArrowheads="1"/>
            </p:cNvSpPr>
            <p:nvPr/>
          </p:nvSpPr>
          <p:spPr bwMode="auto">
            <a:xfrm>
              <a:off x="13271500" y="4119563"/>
              <a:ext cx="601663"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00000"/>
                  </a:solidFill>
                  <a:effectLst/>
                  <a:latin typeface="Verdana" pitchFamily="34" charset="0"/>
                  <a:cs typeface="Arial" pitchFamily="34" charset="0"/>
                </a:rPr>
                <a:t>(ton/h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584" name="Rectangle 54"/>
            <p:cNvSpPr>
              <a:spLocks noChangeArrowheads="1"/>
            </p:cNvSpPr>
            <p:nvPr/>
          </p:nvSpPr>
          <p:spPr bwMode="auto">
            <a:xfrm>
              <a:off x="13169900" y="4440238"/>
              <a:ext cx="71438" cy="69850"/>
            </a:xfrm>
            <a:prstGeom prst="rect">
              <a:avLst/>
            </a:prstGeom>
            <a:solidFill>
              <a:srgbClr val="367C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5" name="Rectangle 55"/>
            <p:cNvSpPr>
              <a:spLocks noChangeArrowheads="1"/>
            </p:cNvSpPr>
            <p:nvPr/>
          </p:nvSpPr>
          <p:spPr bwMode="auto">
            <a:xfrm>
              <a:off x="13271500" y="4392613"/>
              <a:ext cx="893763"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00000"/>
                  </a:solidFill>
                  <a:effectLst/>
                  <a:latin typeface="Verdana" pitchFamily="34" charset="0"/>
                  <a:cs typeface="Arial" pitchFamily="34" charset="0"/>
                </a:rPr>
                <a:t>Current Yiel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586" name="Rectangle 56"/>
            <p:cNvSpPr>
              <a:spLocks noChangeArrowheads="1"/>
            </p:cNvSpPr>
            <p:nvPr/>
          </p:nvSpPr>
          <p:spPr bwMode="auto">
            <a:xfrm>
              <a:off x="13271500" y="4546600"/>
              <a:ext cx="601663"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00000"/>
                  </a:solidFill>
                  <a:effectLst/>
                  <a:latin typeface="Verdana" pitchFamily="34" charset="0"/>
                  <a:cs typeface="Arial" pitchFamily="34" charset="0"/>
                </a:rPr>
                <a:t>(ton/ha)</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587" name="Freeform 57"/>
            <p:cNvSpPr>
              <a:spLocks/>
            </p:cNvSpPr>
            <p:nvPr/>
          </p:nvSpPr>
          <p:spPr bwMode="auto">
            <a:xfrm>
              <a:off x="13168313" y="4864100"/>
              <a:ext cx="74613" cy="76200"/>
            </a:xfrm>
            <a:custGeom>
              <a:avLst/>
              <a:gdLst>
                <a:gd name="T0" fmla="*/ 48 w 96"/>
                <a:gd name="T1" fmla="*/ 0 h 96"/>
                <a:gd name="T2" fmla="*/ 96 w 96"/>
                <a:gd name="T3" fmla="*/ 96 h 96"/>
                <a:gd name="T4" fmla="*/ 0 w 96"/>
                <a:gd name="T5" fmla="*/ 96 h 96"/>
                <a:gd name="T6" fmla="*/ 48 w 96"/>
                <a:gd name="T7" fmla="*/ 0 h 96"/>
              </a:gdLst>
              <a:ahLst/>
              <a:cxnLst>
                <a:cxn ang="0">
                  <a:pos x="T0" y="T1"/>
                </a:cxn>
                <a:cxn ang="0">
                  <a:pos x="T2" y="T3"/>
                </a:cxn>
                <a:cxn ang="0">
                  <a:pos x="T4" y="T5"/>
                </a:cxn>
                <a:cxn ang="0">
                  <a:pos x="T6" y="T7"/>
                </a:cxn>
              </a:cxnLst>
              <a:rect l="0" t="0" r="r" b="b"/>
              <a:pathLst>
                <a:path w="96" h="96">
                  <a:moveTo>
                    <a:pt x="48" y="0"/>
                  </a:moveTo>
                  <a:lnTo>
                    <a:pt x="96" y="96"/>
                  </a:lnTo>
                  <a:lnTo>
                    <a:pt x="0" y="96"/>
                  </a:lnTo>
                  <a:lnTo>
                    <a:pt x="48" y="0"/>
                  </a:lnTo>
                  <a:close/>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8" name="Freeform 58"/>
            <p:cNvSpPr>
              <a:spLocks noEditPoints="1"/>
            </p:cNvSpPr>
            <p:nvPr/>
          </p:nvSpPr>
          <p:spPr bwMode="auto">
            <a:xfrm>
              <a:off x="13163550" y="4859338"/>
              <a:ext cx="84138" cy="85725"/>
            </a:xfrm>
            <a:custGeom>
              <a:avLst/>
              <a:gdLst>
                <a:gd name="T0" fmla="*/ 48 w 108"/>
                <a:gd name="T1" fmla="*/ 2 h 108"/>
                <a:gd name="T2" fmla="*/ 50 w 108"/>
                <a:gd name="T3" fmla="*/ 0 h 108"/>
                <a:gd name="T4" fmla="*/ 54 w 108"/>
                <a:gd name="T5" fmla="*/ 0 h 108"/>
                <a:gd name="T6" fmla="*/ 56 w 108"/>
                <a:gd name="T7" fmla="*/ 0 h 108"/>
                <a:gd name="T8" fmla="*/ 60 w 108"/>
                <a:gd name="T9" fmla="*/ 2 h 108"/>
                <a:gd name="T10" fmla="*/ 108 w 108"/>
                <a:gd name="T11" fmla="*/ 98 h 108"/>
                <a:gd name="T12" fmla="*/ 108 w 108"/>
                <a:gd name="T13" fmla="*/ 102 h 108"/>
                <a:gd name="T14" fmla="*/ 106 w 108"/>
                <a:gd name="T15" fmla="*/ 104 h 108"/>
                <a:gd name="T16" fmla="*/ 104 w 108"/>
                <a:gd name="T17" fmla="*/ 106 h 108"/>
                <a:gd name="T18" fmla="*/ 102 w 108"/>
                <a:gd name="T19" fmla="*/ 108 h 108"/>
                <a:gd name="T20" fmla="*/ 6 w 108"/>
                <a:gd name="T21" fmla="*/ 108 h 108"/>
                <a:gd name="T22" fmla="*/ 2 w 108"/>
                <a:gd name="T23" fmla="*/ 106 h 108"/>
                <a:gd name="T24" fmla="*/ 0 w 108"/>
                <a:gd name="T25" fmla="*/ 104 h 108"/>
                <a:gd name="T26" fmla="*/ 0 w 108"/>
                <a:gd name="T27" fmla="*/ 102 h 108"/>
                <a:gd name="T28" fmla="*/ 0 w 108"/>
                <a:gd name="T29" fmla="*/ 98 h 108"/>
                <a:gd name="T30" fmla="*/ 48 w 108"/>
                <a:gd name="T31" fmla="*/ 2 h 108"/>
                <a:gd name="T32" fmla="*/ 12 w 108"/>
                <a:gd name="T33" fmla="*/ 104 h 108"/>
                <a:gd name="T34" fmla="*/ 6 w 108"/>
                <a:gd name="T35" fmla="*/ 96 h 108"/>
                <a:gd name="T36" fmla="*/ 102 w 108"/>
                <a:gd name="T37" fmla="*/ 96 h 108"/>
                <a:gd name="T38" fmla="*/ 96 w 108"/>
                <a:gd name="T39" fmla="*/ 104 h 108"/>
                <a:gd name="T40" fmla="*/ 48 w 108"/>
                <a:gd name="T41" fmla="*/ 8 h 108"/>
                <a:gd name="T42" fmla="*/ 60 w 108"/>
                <a:gd name="T43" fmla="*/ 8 h 108"/>
                <a:gd name="T44" fmla="*/ 12 w 108"/>
                <a:gd name="T45" fmla="*/ 10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08">
                  <a:moveTo>
                    <a:pt x="48" y="2"/>
                  </a:moveTo>
                  <a:lnTo>
                    <a:pt x="50" y="0"/>
                  </a:lnTo>
                  <a:lnTo>
                    <a:pt x="54" y="0"/>
                  </a:lnTo>
                  <a:lnTo>
                    <a:pt x="56" y="0"/>
                  </a:lnTo>
                  <a:lnTo>
                    <a:pt x="60" y="2"/>
                  </a:lnTo>
                  <a:lnTo>
                    <a:pt x="108" y="98"/>
                  </a:lnTo>
                  <a:lnTo>
                    <a:pt x="108" y="102"/>
                  </a:lnTo>
                  <a:lnTo>
                    <a:pt x="106" y="104"/>
                  </a:lnTo>
                  <a:lnTo>
                    <a:pt x="104" y="106"/>
                  </a:lnTo>
                  <a:lnTo>
                    <a:pt x="102" y="108"/>
                  </a:lnTo>
                  <a:lnTo>
                    <a:pt x="6" y="108"/>
                  </a:lnTo>
                  <a:lnTo>
                    <a:pt x="2" y="106"/>
                  </a:lnTo>
                  <a:lnTo>
                    <a:pt x="0" y="104"/>
                  </a:lnTo>
                  <a:lnTo>
                    <a:pt x="0" y="102"/>
                  </a:lnTo>
                  <a:lnTo>
                    <a:pt x="0" y="98"/>
                  </a:lnTo>
                  <a:lnTo>
                    <a:pt x="48" y="2"/>
                  </a:lnTo>
                  <a:close/>
                  <a:moveTo>
                    <a:pt x="12" y="104"/>
                  </a:moveTo>
                  <a:lnTo>
                    <a:pt x="6" y="96"/>
                  </a:lnTo>
                  <a:lnTo>
                    <a:pt x="102" y="96"/>
                  </a:lnTo>
                  <a:lnTo>
                    <a:pt x="96" y="104"/>
                  </a:lnTo>
                  <a:lnTo>
                    <a:pt x="48" y="8"/>
                  </a:lnTo>
                  <a:lnTo>
                    <a:pt x="60" y="8"/>
                  </a:lnTo>
                  <a:lnTo>
                    <a:pt x="12" y="104"/>
                  </a:lnTo>
                  <a:close/>
                </a:path>
              </a:pathLst>
            </a:custGeom>
            <a:solidFill>
              <a:srgbClr val="323232"/>
            </a:solidFill>
            <a:ln w="1588">
              <a:solidFill>
                <a:srgbClr val="32323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89" name="Rectangle 59"/>
            <p:cNvSpPr>
              <a:spLocks noChangeArrowheads="1"/>
            </p:cNvSpPr>
            <p:nvPr/>
          </p:nvSpPr>
          <p:spPr bwMode="auto">
            <a:xfrm>
              <a:off x="13271500" y="4819650"/>
              <a:ext cx="3683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00000"/>
                  </a:solidFill>
                  <a:effectLst/>
                  <a:latin typeface="Verdana" pitchFamily="34" charset="0"/>
                  <a:cs typeface="Arial" pitchFamily="34" charset="0"/>
                </a:rPr>
                <a:t>Yield</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590" name="Rectangle 60"/>
            <p:cNvSpPr>
              <a:spLocks noChangeArrowheads="1"/>
            </p:cNvSpPr>
            <p:nvPr/>
          </p:nvSpPr>
          <p:spPr bwMode="auto">
            <a:xfrm>
              <a:off x="13271500" y="4973638"/>
              <a:ext cx="954088"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00000"/>
                  </a:solidFill>
                  <a:effectLst/>
                  <a:latin typeface="Verdana" pitchFamily="34" charset="0"/>
                  <a:cs typeface="Arial" pitchFamily="34" charset="0"/>
                </a:rPr>
                <a:t>Attainment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23593" name="Rectangle 23592"/>
          <p:cNvSpPr/>
          <p:nvPr/>
        </p:nvSpPr>
        <p:spPr>
          <a:xfrm>
            <a:off x="3925229" y="3211551"/>
            <a:ext cx="1271239" cy="1360449"/>
          </a:xfrm>
          <a:prstGeom prst="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Tree>
    <p:extLst>
      <p:ext uri="{BB962C8B-B14F-4D97-AF65-F5344CB8AC3E}">
        <p14:creationId xmlns:p14="http://schemas.microsoft.com/office/powerpoint/2010/main" xmlns="" val="27582017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llholders manage the vast majority of farmland in SSA</a:t>
            </a:r>
            <a:endParaRPr lang="en-US" dirty="0"/>
          </a:p>
        </p:txBody>
      </p:sp>
      <p:sp>
        <p:nvSpPr>
          <p:cNvPr id="4" name="Freeform 3"/>
          <p:cNvSpPr/>
          <p:nvPr/>
        </p:nvSpPr>
        <p:spPr>
          <a:xfrm>
            <a:off x="2667000" y="4467224"/>
            <a:ext cx="1387684" cy="1389993"/>
          </a:xfrm>
          <a:custGeom>
            <a:avLst/>
            <a:gdLst>
              <a:gd name="connsiteX0" fmla="*/ 457200 w 1469571"/>
              <a:gd name="connsiteY0" fmla="*/ 0 h 2743200"/>
              <a:gd name="connsiteX1" fmla="*/ 1469571 w 1469571"/>
              <a:gd name="connsiteY1" fmla="*/ 381000 h 2743200"/>
              <a:gd name="connsiteX2" fmla="*/ 1447800 w 1469571"/>
              <a:gd name="connsiteY2" fmla="*/ 2743200 h 2743200"/>
              <a:gd name="connsiteX3" fmla="*/ 468086 w 1469571"/>
              <a:gd name="connsiteY3" fmla="*/ 370115 h 2743200"/>
              <a:gd name="connsiteX4" fmla="*/ 0 w 1469571"/>
              <a:gd name="connsiteY4" fmla="*/ 348343 h 2743200"/>
              <a:gd name="connsiteX5" fmla="*/ 10886 w 1469571"/>
              <a:gd name="connsiteY5" fmla="*/ 32657 h 2743200"/>
              <a:gd name="connsiteX6" fmla="*/ 370114 w 1469571"/>
              <a:gd name="connsiteY6" fmla="*/ 10886 h 2743200"/>
              <a:gd name="connsiteX0" fmla="*/ 457200 w 1447800"/>
              <a:gd name="connsiteY0" fmla="*/ 1974814 h 4718014"/>
              <a:gd name="connsiteX1" fmla="*/ 1387684 w 1447800"/>
              <a:gd name="connsiteY1" fmla="*/ 0 h 4718014"/>
              <a:gd name="connsiteX2" fmla="*/ 1447800 w 1447800"/>
              <a:gd name="connsiteY2" fmla="*/ 4718014 h 4718014"/>
              <a:gd name="connsiteX3" fmla="*/ 468086 w 1447800"/>
              <a:gd name="connsiteY3" fmla="*/ 2344929 h 4718014"/>
              <a:gd name="connsiteX4" fmla="*/ 0 w 1447800"/>
              <a:gd name="connsiteY4" fmla="*/ 2323157 h 4718014"/>
              <a:gd name="connsiteX5" fmla="*/ 10886 w 1447800"/>
              <a:gd name="connsiteY5" fmla="*/ 2007471 h 4718014"/>
              <a:gd name="connsiteX6" fmla="*/ 370114 w 1447800"/>
              <a:gd name="connsiteY6" fmla="*/ 1985700 h 4718014"/>
              <a:gd name="connsiteX0" fmla="*/ 457200 w 1399162"/>
              <a:gd name="connsiteY0" fmla="*/ 1974814 h 2344929"/>
              <a:gd name="connsiteX1" fmla="*/ 1387684 w 1399162"/>
              <a:gd name="connsiteY1" fmla="*/ 0 h 2344929"/>
              <a:gd name="connsiteX2" fmla="*/ 1399162 w 1399162"/>
              <a:gd name="connsiteY2" fmla="*/ 937696 h 2344929"/>
              <a:gd name="connsiteX3" fmla="*/ 468086 w 1399162"/>
              <a:gd name="connsiteY3" fmla="*/ 2344929 h 2344929"/>
              <a:gd name="connsiteX4" fmla="*/ 0 w 1399162"/>
              <a:gd name="connsiteY4" fmla="*/ 2323157 h 2344929"/>
              <a:gd name="connsiteX5" fmla="*/ 10886 w 1399162"/>
              <a:gd name="connsiteY5" fmla="*/ 2007471 h 2344929"/>
              <a:gd name="connsiteX6" fmla="*/ 370114 w 1399162"/>
              <a:gd name="connsiteY6" fmla="*/ 1985700 h 2344929"/>
              <a:gd name="connsiteX0" fmla="*/ 457200 w 1387684"/>
              <a:gd name="connsiteY0" fmla="*/ 1974814 h 2344929"/>
              <a:gd name="connsiteX1" fmla="*/ 1387684 w 1387684"/>
              <a:gd name="connsiteY1" fmla="*/ 0 h 2344929"/>
              <a:gd name="connsiteX2" fmla="*/ 1370587 w 1387684"/>
              <a:gd name="connsiteY2" fmla="*/ 1660790 h 2344929"/>
              <a:gd name="connsiteX3" fmla="*/ 468086 w 1387684"/>
              <a:gd name="connsiteY3" fmla="*/ 2344929 h 2344929"/>
              <a:gd name="connsiteX4" fmla="*/ 0 w 1387684"/>
              <a:gd name="connsiteY4" fmla="*/ 2323157 h 2344929"/>
              <a:gd name="connsiteX5" fmla="*/ 10886 w 1387684"/>
              <a:gd name="connsiteY5" fmla="*/ 2007471 h 2344929"/>
              <a:gd name="connsiteX6" fmla="*/ 370114 w 1387684"/>
              <a:gd name="connsiteY6" fmla="*/ 1985700 h 2344929"/>
              <a:gd name="connsiteX0" fmla="*/ 457200 w 1387684"/>
              <a:gd name="connsiteY0" fmla="*/ 1814127 h 2344929"/>
              <a:gd name="connsiteX1" fmla="*/ 1387684 w 1387684"/>
              <a:gd name="connsiteY1" fmla="*/ 0 h 2344929"/>
              <a:gd name="connsiteX2" fmla="*/ 1370587 w 1387684"/>
              <a:gd name="connsiteY2" fmla="*/ 1660790 h 2344929"/>
              <a:gd name="connsiteX3" fmla="*/ 468086 w 1387684"/>
              <a:gd name="connsiteY3" fmla="*/ 2344929 h 2344929"/>
              <a:gd name="connsiteX4" fmla="*/ 0 w 1387684"/>
              <a:gd name="connsiteY4" fmla="*/ 2323157 h 2344929"/>
              <a:gd name="connsiteX5" fmla="*/ 10886 w 1387684"/>
              <a:gd name="connsiteY5" fmla="*/ 2007471 h 2344929"/>
              <a:gd name="connsiteX6" fmla="*/ 370114 w 1387684"/>
              <a:gd name="connsiteY6" fmla="*/ 1985700 h 2344929"/>
              <a:gd name="connsiteX0" fmla="*/ 457200 w 1387684"/>
              <a:gd name="connsiteY0" fmla="*/ 1765921 h 2344929"/>
              <a:gd name="connsiteX1" fmla="*/ 1387684 w 1387684"/>
              <a:gd name="connsiteY1" fmla="*/ 0 h 2344929"/>
              <a:gd name="connsiteX2" fmla="*/ 1370587 w 1387684"/>
              <a:gd name="connsiteY2" fmla="*/ 1660790 h 2344929"/>
              <a:gd name="connsiteX3" fmla="*/ 468086 w 1387684"/>
              <a:gd name="connsiteY3" fmla="*/ 2344929 h 2344929"/>
              <a:gd name="connsiteX4" fmla="*/ 0 w 1387684"/>
              <a:gd name="connsiteY4" fmla="*/ 2323157 h 2344929"/>
              <a:gd name="connsiteX5" fmla="*/ 10886 w 1387684"/>
              <a:gd name="connsiteY5" fmla="*/ 2007471 h 2344929"/>
              <a:gd name="connsiteX6" fmla="*/ 370114 w 1387684"/>
              <a:gd name="connsiteY6" fmla="*/ 1985700 h 2344929"/>
              <a:gd name="connsiteX0" fmla="*/ 457200 w 1387684"/>
              <a:gd name="connsiteY0" fmla="*/ 1765921 h 2344929"/>
              <a:gd name="connsiteX1" fmla="*/ 1387684 w 1387684"/>
              <a:gd name="connsiteY1" fmla="*/ 0 h 2344929"/>
              <a:gd name="connsiteX2" fmla="*/ 1370587 w 1387684"/>
              <a:gd name="connsiteY2" fmla="*/ 1725065 h 2344929"/>
              <a:gd name="connsiteX3" fmla="*/ 468086 w 1387684"/>
              <a:gd name="connsiteY3" fmla="*/ 2344929 h 2344929"/>
              <a:gd name="connsiteX4" fmla="*/ 0 w 1387684"/>
              <a:gd name="connsiteY4" fmla="*/ 2323157 h 2344929"/>
              <a:gd name="connsiteX5" fmla="*/ 10886 w 1387684"/>
              <a:gd name="connsiteY5" fmla="*/ 2007471 h 2344929"/>
              <a:gd name="connsiteX6" fmla="*/ 370114 w 1387684"/>
              <a:gd name="connsiteY6" fmla="*/ 1985700 h 2344929"/>
              <a:gd name="connsiteX0" fmla="*/ 466725 w 1387684"/>
              <a:gd name="connsiteY0" fmla="*/ 1798058 h 2344929"/>
              <a:gd name="connsiteX1" fmla="*/ 1387684 w 1387684"/>
              <a:gd name="connsiteY1" fmla="*/ 0 h 2344929"/>
              <a:gd name="connsiteX2" fmla="*/ 1370587 w 1387684"/>
              <a:gd name="connsiteY2" fmla="*/ 1725065 h 2344929"/>
              <a:gd name="connsiteX3" fmla="*/ 468086 w 1387684"/>
              <a:gd name="connsiteY3" fmla="*/ 2344929 h 2344929"/>
              <a:gd name="connsiteX4" fmla="*/ 0 w 1387684"/>
              <a:gd name="connsiteY4" fmla="*/ 2323157 h 2344929"/>
              <a:gd name="connsiteX5" fmla="*/ 10886 w 1387684"/>
              <a:gd name="connsiteY5" fmla="*/ 2007471 h 2344929"/>
              <a:gd name="connsiteX6" fmla="*/ 370114 w 1387684"/>
              <a:gd name="connsiteY6" fmla="*/ 1985700 h 234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684" h="2344929">
                <a:moveTo>
                  <a:pt x="466725" y="1798058"/>
                </a:moveTo>
                <a:lnTo>
                  <a:pt x="1387684" y="0"/>
                </a:lnTo>
                <a:lnTo>
                  <a:pt x="1370587" y="1725065"/>
                </a:lnTo>
                <a:lnTo>
                  <a:pt x="468086" y="2344929"/>
                </a:lnTo>
                <a:lnTo>
                  <a:pt x="0" y="2323157"/>
                </a:lnTo>
                <a:lnTo>
                  <a:pt x="10886" y="2007471"/>
                </a:lnTo>
                <a:lnTo>
                  <a:pt x="370114" y="1985700"/>
                </a:lnTo>
              </a:path>
            </a:pathLst>
          </a:custGeom>
          <a:gradFill flip="none" rotWithShape="1">
            <a:gsLst>
              <a:gs pos="0">
                <a:srgbClr val="EFCE0B"/>
              </a:gs>
              <a:gs pos="50000">
                <a:schemeClr val="accent2"/>
              </a:gs>
              <a:gs pos="100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grpSp>
        <p:nvGrpSpPr>
          <p:cNvPr id="9" name="Group 13"/>
          <p:cNvGrpSpPr>
            <a:grpSpLocks/>
          </p:cNvGrpSpPr>
          <p:nvPr/>
        </p:nvGrpSpPr>
        <p:grpSpPr bwMode="auto">
          <a:xfrm>
            <a:off x="667049" y="1852261"/>
            <a:ext cx="400050" cy="504825"/>
            <a:chOff x="521" y="795"/>
            <a:chExt cx="252" cy="318"/>
          </a:xfrm>
        </p:grpSpPr>
        <p:sp>
          <p:nvSpPr>
            <p:cNvPr id="10" name="Oval 9"/>
            <p:cNvSpPr/>
            <p:nvPr/>
          </p:nvSpPr>
          <p:spPr>
            <a:xfrm>
              <a:off x="550" y="884"/>
              <a:ext cx="195" cy="192"/>
            </a:xfrm>
            <a:prstGeom prst="ellipse">
              <a:avLst/>
            </a:prstGeom>
            <a:blipFill>
              <a:blip r:embed="rId3" cstate="print"/>
              <a:stretch>
                <a:fillRect/>
              </a:stretch>
            </a:blipFill>
          </p:spPr>
          <p:style>
            <a:lnRef idx="0">
              <a:schemeClr val="accent3"/>
            </a:lnRef>
            <a:fillRef idx="3">
              <a:schemeClr val="accent3"/>
            </a:fillRef>
            <a:effectRef idx="3">
              <a:schemeClr val="accent3"/>
            </a:effectRef>
            <a:fontRef idx="minor">
              <a:schemeClr val="lt1"/>
            </a:fontRef>
          </p:style>
          <p:txBody>
            <a:bodyPr anchor="ctr"/>
            <a:lstStyle/>
            <a:p>
              <a:pPr algn="ctr" defTabSz="914109">
                <a:defRPr/>
              </a:pPr>
              <a:endParaRPr lang="en-US">
                <a:solidFill>
                  <a:prstClr val="white"/>
                </a:solidFill>
              </a:endParaRPr>
            </a:p>
          </p:txBody>
        </p:sp>
        <p:sp>
          <p:nvSpPr>
            <p:cNvPr id="11" name="TextBox 10"/>
            <p:cNvSpPr txBox="1"/>
            <p:nvPr/>
          </p:nvSpPr>
          <p:spPr>
            <a:xfrm>
              <a:off x="552" y="832"/>
              <a:ext cx="193" cy="217"/>
            </a:xfrm>
            <a:prstGeom prst="rect">
              <a:avLst/>
            </a:prstGeom>
            <a:noFill/>
          </p:spPr>
          <p:txBody>
            <a:bodyPr spcFirstLastPara="1">
              <a:prstTxWarp prst="textArchUp">
                <a:avLst>
                  <a:gd name="adj" fmla="val 10064241"/>
                </a:avLst>
              </a:prstTxWarp>
              <a:spAutoFit/>
            </a:bodyPr>
            <a:lstStyle/>
            <a:p>
              <a:pPr algn="ctr" defTabSz="914109">
                <a:defRPr/>
              </a:pPr>
              <a:r>
                <a:rPr lang="en-US" sz="1000" dirty="0">
                  <a:solidFill>
                    <a:prstClr val="black"/>
                  </a:solidFill>
                </a:rPr>
                <a:t>Africa</a:t>
              </a:r>
            </a:p>
          </p:txBody>
        </p:sp>
      </p:grpSp>
      <p:sp>
        <p:nvSpPr>
          <p:cNvPr id="12" name="McK 5. Source"/>
          <p:cNvSpPr>
            <a:spLocks noChangeArrowheads="1"/>
          </p:cNvSpPr>
          <p:nvPr>
            <p:custDataLst>
              <p:tags r:id="rId1"/>
            </p:custDataLst>
          </p:nvPr>
        </p:nvSpPr>
        <p:spPr bwMode="auto">
          <a:xfrm>
            <a:off x="473075" y="6083996"/>
            <a:ext cx="7604125" cy="110800"/>
          </a:xfrm>
          <a:prstGeom prst="rect">
            <a:avLst/>
          </a:prstGeom>
          <a:noFill/>
          <a:ln w="9525">
            <a:noFill/>
            <a:miter lim="800000"/>
            <a:headEnd/>
            <a:tailEnd/>
          </a:ln>
        </p:spPr>
        <p:txBody>
          <a:bodyPr lIns="0" tIns="0" rIns="0" bIns="0" anchor="ctr">
            <a:spAutoFit/>
          </a:bodyPr>
          <a:lstStyle/>
          <a:p>
            <a:pPr marL="620713" indent="-620713" defTabSz="912813" fontAlgn="base">
              <a:lnSpc>
                <a:spcPct val="90000"/>
              </a:lnSpc>
              <a:spcBef>
                <a:spcPct val="0"/>
              </a:spcBef>
              <a:spcAft>
                <a:spcPct val="0"/>
              </a:spcAft>
              <a:tabLst>
                <a:tab pos="623888" algn="l"/>
              </a:tabLst>
            </a:pPr>
            <a:r>
              <a:rPr lang="en-GB" sz="800" dirty="0">
                <a:solidFill>
                  <a:srgbClr val="666666"/>
                </a:solidFill>
              </a:rPr>
              <a:t>SOURCE: </a:t>
            </a:r>
            <a:r>
              <a:rPr lang="en-GB" sz="800" dirty="0" smtClean="0">
                <a:solidFill>
                  <a:srgbClr val="666666"/>
                </a:solidFill>
              </a:rPr>
              <a:t>FAO Smallholder Factsheet</a:t>
            </a:r>
            <a:endParaRPr lang="en-GB" sz="800" dirty="0">
              <a:solidFill>
                <a:srgbClr val="666666"/>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xmlns="" val="537845305"/>
              </p:ext>
            </p:extLst>
          </p:nvPr>
        </p:nvGraphicFramePr>
        <p:xfrm>
          <a:off x="349322" y="1791047"/>
          <a:ext cx="2801382" cy="4064000"/>
        </p:xfrm>
        <a:graphic>
          <a:graphicData uri="http://schemas.openxmlformats.org/drawingml/2006/table">
            <a:tbl>
              <a:tblPr firstRow="1" bandRow="1">
                <a:tableStyleId>{5C22544A-7EE6-4342-B048-85BDC9FD1C3A}</a:tableStyleId>
              </a:tblPr>
              <a:tblGrid>
                <a:gridCol w="1078786"/>
                <a:gridCol w="1074594"/>
                <a:gridCol w="648002"/>
              </a:tblGrid>
              <a:tr h="370840">
                <a:tc>
                  <a:txBody>
                    <a:bodyPr/>
                    <a:lstStyle/>
                    <a:p>
                      <a:pPr algn="ctr"/>
                      <a:endParaRPr lang="en-US" sz="1200" dirty="0"/>
                    </a:p>
                  </a:txBody>
                  <a:tcPr>
                    <a:noFill/>
                  </a:tcPr>
                </a:tc>
                <a:tc>
                  <a:txBody>
                    <a:bodyPr/>
                    <a:lstStyle/>
                    <a:p>
                      <a:pPr algn="ctr"/>
                      <a:r>
                        <a:rPr lang="en-US" sz="1200" dirty="0" smtClean="0"/>
                        <a:t>Harvested Area</a:t>
                      </a:r>
                    </a:p>
                    <a:p>
                      <a:pPr algn="ctr"/>
                      <a:r>
                        <a:rPr lang="en-US" sz="1200" baseline="0" dirty="0" smtClean="0"/>
                        <a:t> (M Ha)</a:t>
                      </a:r>
                      <a:endParaRPr lang="en-US" sz="1200" dirty="0"/>
                    </a:p>
                  </a:txBody>
                  <a:tcPr/>
                </a:tc>
                <a:tc>
                  <a:txBody>
                    <a:bodyPr/>
                    <a:lstStyle/>
                    <a:p>
                      <a:pPr algn="ctr"/>
                      <a:r>
                        <a:rPr lang="en-US" sz="1200" dirty="0" smtClean="0"/>
                        <a:t>% of Total Area</a:t>
                      </a:r>
                      <a:endParaRPr lang="en-US" sz="1200" dirty="0"/>
                    </a:p>
                  </a:txBody>
                  <a:tcPr/>
                </a:tc>
              </a:tr>
              <a:tr h="370840">
                <a:tc>
                  <a:txBody>
                    <a:bodyPr/>
                    <a:lstStyle/>
                    <a:p>
                      <a:pPr algn="ctr"/>
                      <a:r>
                        <a:rPr lang="en-US" sz="1200" dirty="0" smtClean="0"/>
                        <a:t>Cereals</a:t>
                      </a:r>
                    </a:p>
                  </a:txBody>
                  <a:tcPr>
                    <a:solidFill>
                      <a:srgbClr val="CED7CD"/>
                    </a:solidFill>
                  </a:tcPr>
                </a:tc>
                <a:tc>
                  <a:txBody>
                    <a:bodyPr/>
                    <a:lstStyle/>
                    <a:p>
                      <a:pPr algn="ctr"/>
                      <a:r>
                        <a:rPr lang="en-US" sz="1200" dirty="0" smtClean="0"/>
                        <a:t>92.2</a:t>
                      </a:r>
                    </a:p>
                  </a:txBody>
                  <a:tcPr>
                    <a:solidFill>
                      <a:srgbClr val="CED7CD"/>
                    </a:solidFill>
                  </a:tcPr>
                </a:tc>
                <a:tc>
                  <a:txBody>
                    <a:bodyPr/>
                    <a:lstStyle/>
                    <a:p>
                      <a:pPr algn="ctr"/>
                      <a:r>
                        <a:rPr lang="en-US" sz="1200" dirty="0" smtClean="0"/>
                        <a:t>50%</a:t>
                      </a:r>
                      <a:endParaRPr lang="en-US" sz="1200" dirty="0"/>
                    </a:p>
                  </a:txBody>
                  <a:tcPr>
                    <a:solidFill>
                      <a:srgbClr val="CED7CD"/>
                    </a:solidFill>
                  </a:tcPr>
                </a:tc>
              </a:tr>
              <a:tr h="370840">
                <a:tc>
                  <a:txBody>
                    <a:bodyPr/>
                    <a:lstStyle/>
                    <a:p>
                      <a:pPr algn="ctr"/>
                      <a:r>
                        <a:rPr lang="en-US" sz="1200" dirty="0" smtClean="0"/>
                        <a:t>Oil Crops</a:t>
                      </a:r>
                      <a:endParaRPr lang="en-US" sz="1200" dirty="0"/>
                    </a:p>
                  </a:txBody>
                  <a:tcPr/>
                </a:tc>
                <a:tc>
                  <a:txBody>
                    <a:bodyPr/>
                    <a:lstStyle/>
                    <a:p>
                      <a:pPr algn="ctr"/>
                      <a:r>
                        <a:rPr lang="en-US" sz="1200" dirty="0" smtClean="0"/>
                        <a:t>27.5</a:t>
                      </a:r>
                      <a:endParaRPr lang="en-US" sz="1200" dirty="0"/>
                    </a:p>
                  </a:txBody>
                  <a:tcPr/>
                </a:tc>
                <a:tc>
                  <a:txBody>
                    <a:bodyPr/>
                    <a:lstStyle/>
                    <a:p>
                      <a:pPr algn="ctr"/>
                      <a:r>
                        <a:rPr lang="en-US" sz="1200" dirty="0" smtClean="0"/>
                        <a:t>15%</a:t>
                      </a:r>
                      <a:endParaRPr lang="en-US" sz="1200" dirty="0"/>
                    </a:p>
                  </a:txBody>
                  <a:tcPr/>
                </a:tc>
              </a:tr>
              <a:tr h="370840">
                <a:tc>
                  <a:txBody>
                    <a:bodyPr/>
                    <a:lstStyle/>
                    <a:p>
                      <a:pPr algn="ctr"/>
                      <a:r>
                        <a:rPr lang="en-US" sz="1200" dirty="0" smtClean="0"/>
                        <a:t>Roots &amp; Tubers</a:t>
                      </a:r>
                      <a:endParaRPr lang="en-US" sz="1200" dirty="0"/>
                    </a:p>
                  </a:txBody>
                  <a:tcPr/>
                </a:tc>
                <a:tc>
                  <a:txBody>
                    <a:bodyPr/>
                    <a:lstStyle/>
                    <a:p>
                      <a:pPr algn="ctr"/>
                      <a:r>
                        <a:rPr lang="en-US" sz="1200" dirty="0" smtClean="0"/>
                        <a:t>23.9</a:t>
                      </a:r>
                      <a:endParaRPr lang="en-US" sz="1200" dirty="0"/>
                    </a:p>
                  </a:txBody>
                  <a:tcPr anchor="ctr"/>
                </a:tc>
                <a:tc>
                  <a:txBody>
                    <a:bodyPr/>
                    <a:lstStyle/>
                    <a:p>
                      <a:pPr algn="ctr"/>
                      <a:r>
                        <a:rPr lang="en-US" sz="1200" dirty="0" smtClean="0"/>
                        <a:t>13%</a:t>
                      </a:r>
                      <a:endParaRPr lang="en-US" sz="1200" dirty="0"/>
                    </a:p>
                  </a:txBody>
                  <a:tcPr anchor="ctr"/>
                </a:tc>
              </a:tr>
              <a:tr h="370840">
                <a:tc>
                  <a:txBody>
                    <a:bodyPr/>
                    <a:lstStyle/>
                    <a:p>
                      <a:pPr algn="ctr"/>
                      <a:r>
                        <a:rPr lang="en-US" sz="1200" dirty="0" smtClean="0"/>
                        <a:t>Pulses</a:t>
                      </a:r>
                      <a:endParaRPr lang="en-US" sz="1200" dirty="0"/>
                    </a:p>
                  </a:txBody>
                  <a:tcPr/>
                </a:tc>
                <a:tc>
                  <a:txBody>
                    <a:bodyPr/>
                    <a:lstStyle/>
                    <a:p>
                      <a:pPr algn="ctr"/>
                      <a:r>
                        <a:rPr lang="en-US" sz="1200" dirty="0" smtClean="0"/>
                        <a:t>20.6</a:t>
                      </a:r>
                      <a:endParaRPr lang="en-US" sz="1200" dirty="0"/>
                    </a:p>
                  </a:txBody>
                  <a:tcPr/>
                </a:tc>
                <a:tc>
                  <a:txBody>
                    <a:bodyPr/>
                    <a:lstStyle/>
                    <a:p>
                      <a:pPr algn="ctr"/>
                      <a:r>
                        <a:rPr lang="en-US" sz="1200" dirty="0" smtClean="0"/>
                        <a:t>11%</a:t>
                      </a:r>
                      <a:endParaRPr lang="en-US" sz="1200" dirty="0"/>
                    </a:p>
                  </a:txBody>
                  <a:tcPr/>
                </a:tc>
              </a:tr>
              <a:tr h="370840">
                <a:tc>
                  <a:txBody>
                    <a:bodyPr/>
                    <a:lstStyle/>
                    <a:p>
                      <a:pPr algn="ctr"/>
                      <a:r>
                        <a:rPr lang="en-US" sz="1200" dirty="0" smtClean="0"/>
                        <a:t>Fruit</a:t>
                      </a:r>
                      <a:endParaRPr lang="en-US" sz="1200" dirty="0"/>
                    </a:p>
                  </a:txBody>
                  <a:tcPr/>
                </a:tc>
                <a:tc>
                  <a:txBody>
                    <a:bodyPr/>
                    <a:lstStyle/>
                    <a:p>
                      <a:pPr algn="ctr"/>
                      <a:r>
                        <a:rPr lang="en-US" sz="1200" dirty="0" smtClean="0"/>
                        <a:t>9.1</a:t>
                      </a:r>
                      <a:endParaRPr lang="en-US" sz="1200" dirty="0"/>
                    </a:p>
                  </a:txBody>
                  <a:tcPr/>
                </a:tc>
                <a:tc>
                  <a:txBody>
                    <a:bodyPr/>
                    <a:lstStyle/>
                    <a:p>
                      <a:pPr algn="ctr"/>
                      <a:r>
                        <a:rPr lang="en-US" sz="1200" dirty="0" smtClean="0"/>
                        <a:t>5%</a:t>
                      </a:r>
                      <a:endParaRPr lang="en-US" sz="1200" dirty="0"/>
                    </a:p>
                  </a:txBody>
                  <a:tcPr/>
                </a:tc>
              </a:tr>
              <a:tr h="370840">
                <a:tc>
                  <a:txBody>
                    <a:bodyPr/>
                    <a:lstStyle/>
                    <a:p>
                      <a:pPr algn="ctr"/>
                      <a:r>
                        <a:rPr lang="en-US" sz="1200" dirty="0" smtClean="0"/>
                        <a:t>Vegetables</a:t>
                      </a:r>
                      <a:endParaRPr lang="en-US" sz="1200" dirty="0"/>
                    </a:p>
                  </a:txBody>
                  <a:tcPr/>
                </a:tc>
                <a:tc>
                  <a:txBody>
                    <a:bodyPr/>
                    <a:lstStyle/>
                    <a:p>
                      <a:pPr algn="ctr"/>
                      <a:r>
                        <a:rPr lang="en-US" sz="1200" dirty="0" smtClean="0"/>
                        <a:t>5.2</a:t>
                      </a:r>
                      <a:endParaRPr lang="en-US" sz="1200" dirty="0"/>
                    </a:p>
                  </a:txBody>
                  <a:tcPr/>
                </a:tc>
                <a:tc>
                  <a:txBody>
                    <a:bodyPr/>
                    <a:lstStyle/>
                    <a:p>
                      <a:pPr algn="ctr"/>
                      <a:r>
                        <a:rPr lang="en-US" sz="1200" dirty="0" smtClean="0"/>
                        <a:t>3%</a:t>
                      </a:r>
                      <a:endParaRPr lang="en-US" sz="1200" dirty="0"/>
                    </a:p>
                  </a:txBody>
                  <a:tcPr/>
                </a:tc>
              </a:tr>
              <a:tr h="370840">
                <a:tc>
                  <a:txBody>
                    <a:bodyPr/>
                    <a:lstStyle/>
                    <a:p>
                      <a:pPr algn="ctr"/>
                      <a:r>
                        <a:rPr lang="en-US" sz="1200" dirty="0" smtClean="0"/>
                        <a:t>Fiber</a:t>
                      </a:r>
                      <a:r>
                        <a:rPr lang="en-US" sz="1200" baseline="0" dirty="0" smtClean="0"/>
                        <a:t> Crops</a:t>
                      </a:r>
                      <a:endParaRPr lang="en-US" sz="1200" dirty="0"/>
                    </a:p>
                  </a:txBody>
                  <a:tcPr/>
                </a:tc>
                <a:tc>
                  <a:txBody>
                    <a:bodyPr/>
                    <a:lstStyle/>
                    <a:p>
                      <a:pPr algn="ctr"/>
                      <a:r>
                        <a:rPr lang="en-US" sz="1200" dirty="0" smtClean="0"/>
                        <a:t>4.2</a:t>
                      </a:r>
                      <a:endParaRPr lang="en-US" sz="1200" dirty="0"/>
                    </a:p>
                  </a:txBody>
                  <a:tcPr/>
                </a:tc>
                <a:tc>
                  <a:txBody>
                    <a:bodyPr/>
                    <a:lstStyle/>
                    <a:p>
                      <a:pPr algn="ctr"/>
                      <a:r>
                        <a:rPr lang="en-US" sz="1200" dirty="0" smtClean="0"/>
                        <a:t>2%</a:t>
                      </a:r>
                      <a:endParaRPr lang="en-US" sz="1200" dirty="0"/>
                    </a:p>
                  </a:txBody>
                  <a:tcPr/>
                </a:tc>
              </a:tr>
              <a:tr h="370840">
                <a:tc>
                  <a:txBody>
                    <a:bodyPr/>
                    <a:lstStyle/>
                    <a:p>
                      <a:pPr algn="ctr"/>
                      <a:r>
                        <a:rPr lang="en-US" sz="1200" dirty="0" smtClean="0"/>
                        <a:t>Tree</a:t>
                      </a:r>
                      <a:r>
                        <a:rPr lang="en-US" sz="1200" baseline="0" dirty="0" smtClean="0"/>
                        <a:t> N</a:t>
                      </a:r>
                      <a:r>
                        <a:rPr lang="en-US" sz="1200" dirty="0" smtClean="0"/>
                        <a:t>uts</a:t>
                      </a:r>
                      <a:endParaRPr lang="en-US" sz="1200" dirty="0"/>
                    </a:p>
                  </a:txBody>
                  <a:tcPr/>
                </a:tc>
                <a:tc>
                  <a:txBody>
                    <a:bodyPr/>
                    <a:lstStyle/>
                    <a:p>
                      <a:pPr algn="ctr"/>
                      <a:r>
                        <a:rPr lang="en-US" sz="1200" dirty="0" smtClean="0"/>
                        <a:t>2.2</a:t>
                      </a:r>
                      <a:endParaRPr lang="en-US" sz="1200" dirty="0"/>
                    </a:p>
                  </a:txBody>
                  <a:tcPr/>
                </a:tc>
                <a:tc>
                  <a:txBody>
                    <a:bodyPr/>
                    <a:lstStyle/>
                    <a:p>
                      <a:pPr algn="ctr"/>
                      <a:r>
                        <a:rPr lang="en-US" sz="1200" dirty="0" smtClean="0"/>
                        <a:t>1%</a:t>
                      </a:r>
                      <a:endParaRPr lang="en-US" sz="1200" dirty="0"/>
                    </a:p>
                  </a:txBody>
                  <a:tcPr/>
                </a:tc>
              </a:tr>
              <a:tr h="370840">
                <a:tc>
                  <a:txBody>
                    <a:bodyPr/>
                    <a:lstStyle/>
                    <a:p>
                      <a:pPr algn="ctr"/>
                      <a:r>
                        <a:rPr lang="en-US" sz="1200" b="1" dirty="0" smtClean="0"/>
                        <a:t>Total</a:t>
                      </a:r>
                      <a:endParaRPr lang="en-US" sz="1200" b="1" dirty="0"/>
                    </a:p>
                  </a:txBody>
                  <a:tcPr>
                    <a:solidFill>
                      <a:schemeClr val="accent2"/>
                    </a:solidFill>
                  </a:tcPr>
                </a:tc>
                <a:tc>
                  <a:txBody>
                    <a:bodyPr/>
                    <a:lstStyle/>
                    <a:p>
                      <a:pPr algn="ctr"/>
                      <a:r>
                        <a:rPr lang="en-US" sz="1200" b="1" dirty="0" smtClean="0"/>
                        <a:t>185</a:t>
                      </a:r>
                      <a:endParaRPr lang="en-US" sz="1200" b="1" dirty="0"/>
                    </a:p>
                  </a:txBody>
                  <a:tcPr>
                    <a:solidFill>
                      <a:schemeClr val="accent2"/>
                    </a:solidFill>
                  </a:tcPr>
                </a:tc>
                <a:tc>
                  <a:txBody>
                    <a:bodyPr/>
                    <a:lstStyle/>
                    <a:p>
                      <a:pPr algn="ctr"/>
                      <a:endParaRPr lang="en-US" sz="1200" dirty="0"/>
                    </a:p>
                  </a:txBody>
                  <a:tcPr>
                    <a:solidFill>
                      <a:schemeClr val="accent2"/>
                    </a:solidFill>
                  </a:tcPr>
                </a:tc>
              </a:tr>
            </a:tbl>
          </a:graphicData>
        </a:graphic>
      </p:graphicFrame>
      <p:graphicFrame>
        <p:nvGraphicFramePr>
          <p:cNvPr id="14" name="Table 3"/>
          <p:cNvGraphicFramePr>
            <a:graphicFrameLocks noGrp="1"/>
          </p:cNvGraphicFramePr>
          <p:nvPr>
            <p:extLst>
              <p:ext uri="{D42A27DB-BD31-4B8C-83A1-F6EECF244321}">
                <p14:modId xmlns:p14="http://schemas.microsoft.com/office/powerpoint/2010/main" xmlns="" val="877144972"/>
              </p:ext>
            </p:extLst>
          </p:nvPr>
        </p:nvGraphicFramePr>
        <p:xfrm>
          <a:off x="4064000" y="3926617"/>
          <a:ext cx="4658139" cy="1569043"/>
        </p:xfrm>
        <a:graphic>
          <a:graphicData uri="http://schemas.openxmlformats.org/drawingml/2006/table">
            <a:tbl>
              <a:tblPr firstRow="1" bandRow="1">
                <a:tableStyleId>{5C22544A-7EE6-4342-B048-85BDC9FD1C3A}</a:tableStyleId>
              </a:tblPr>
              <a:tblGrid>
                <a:gridCol w="1552713"/>
                <a:gridCol w="1552713"/>
                <a:gridCol w="1552713"/>
              </a:tblGrid>
              <a:tr h="530291">
                <a:tc>
                  <a:txBody>
                    <a:bodyPr/>
                    <a:lstStyle/>
                    <a:p>
                      <a:pPr algn="ctr"/>
                      <a:r>
                        <a:rPr lang="en-US" sz="1400" dirty="0" smtClean="0">
                          <a:solidFill>
                            <a:schemeClr val="tx1"/>
                          </a:solidFill>
                        </a:rPr>
                        <a:t>Customer Segment</a:t>
                      </a:r>
                      <a:endParaRPr lang="en-US" sz="1400" dirty="0">
                        <a:solidFill>
                          <a:schemeClr val="tx1"/>
                        </a:solidFill>
                      </a:endParaRPr>
                    </a:p>
                  </a:txBody>
                  <a:tcPr>
                    <a:solidFill>
                      <a:schemeClr val="accent2"/>
                    </a:solidFill>
                  </a:tcPr>
                </a:tc>
                <a:tc>
                  <a:txBody>
                    <a:bodyPr/>
                    <a:lstStyle/>
                    <a:p>
                      <a:pPr algn="ctr"/>
                      <a:r>
                        <a:rPr lang="en-US" sz="1400" dirty="0" smtClean="0">
                          <a:solidFill>
                            <a:schemeClr val="tx1"/>
                          </a:solidFill>
                        </a:rPr>
                        <a:t>Harvested Area</a:t>
                      </a:r>
                      <a:r>
                        <a:rPr lang="en-US" sz="1400" baseline="0" dirty="0" smtClean="0">
                          <a:solidFill>
                            <a:schemeClr val="tx1"/>
                          </a:solidFill>
                        </a:rPr>
                        <a:t> (M Ha)</a:t>
                      </a:r>
                      <a:endParaRPr lang="en-US" sz="1400" dirty="0">
                        <a:solidFill>
                          <a:schemeClr val="tx1"/>
                        </a:solidFill>
                      </a:endParaRPr>
                    </a:p>
                  </a:txBody>
                  <a:tcPr>
                    <a:solidFill>
                      <a:schemeClr val="accent2"/>
                    </a:solidFill>
                  </a:tcPr>
                </a:tc>
                <a:tc>
                  <a:txBody>
                    <a:bodyPr/>
                    <a:lstStyle/>
                    <a:p>
                      <a:pPr algn="ctr"/>
                      <a:r>
                        <a:rPr lang="en-US" sz="1400" dirty="0" smtClean="0">
                          <a:solidFill>
                            <a:schemeClr val="tx1"/>
                          </a:solidFill>
                        </a:rPr>
                        <a:t>% of Total Area</a:t>
                      </a:r>
                      <a:endParaRPr lang="en-US" sz="1400" dirty="0">
                        <a:solidFill>
                          <a:schemeClr val="tx1"/>
                        </a:solidFill>
                      </a:endParaRPr>
                    </a:p>
                  </a:txBody>
                  <a:tcPr>
                    <a:solidFill>
                      <a:schemeClr val="accent2"/>
                    </a:solidFill>
                  </a:tcPr>
                </a:tc>
              </a:tr>
              <a:tr h="307232">
                <a:tc>
                  <a:txBody>
                    <a:bodyPr/>
                    <a:lstStyle/>
                    <a:p>
                      <a:pPr algn="ctr"/>
                      <a:r>
                        <a:rPr lang="en-US" sz="1400" dirty="0" smtClean="0"/>
                        <a:t>Smallholder (working up to 10 Ha)</a:t>
                      </a:r>
                      <a:endParaRPr lang="en-US" sz="1400" dirty="0"/>
                    </a:p>
                  </a:txBody>
                  <a:tcPr>
                    <a:solidFill>
                      <a:schemeClr val="bg1">
                        <a:lumMod val="95000"/>
                      </a:schemeClr>
                    </a:solidFill>
                  </a:tcPr>
                </a:tc>
                <a:tc>
                  <a:txBody>
                    <a:bodyPr/>
                    <a:lstStyle/>
                    <a:p>
                      <a:pPr algn="ctr"/>
                      <a:r>
                        <a:rPr lang="en-US" sz="1400" dirty="0" smtClean="0"/>
                        <a:t>148</a:t>
                      </a:r>
                      <a:endParaRPr lang="en-US" sz="1400" dirty="0"/>
                    </a:p>
                  </a:txBody>
                  <a:tcPr>
                    <a:solidFill>
                      <a:schemeClr val="bg2">
                        <a:lumMod val="60000"/>
                        <a:lumOff val="40000"/>
                      </a:schemeClr>
                    </a:solidFill>
                  </a:tcPr>
                </a:tc>
                <a:tc>
                  <a:txBody>
                    <a:bodyPr/>
                    <a:lstStyle/>
                    <a:p>
                      <a:pPr algn="ctr"/>
                      <a:r>
                        <a:rPr lang="en-US" sz="1400" dirty="0" smtClean="0"/>
                        <a:t>80%</a:t>
                      </a:r>
                      <a:endParaRPr lang="en-US" sz="1400" dirty="0"/>
                    </a:p>
                  </a:txBody>
                  <a:tcPr>
                    <a:solidFill>
                      <a:schemeClr val="bg1">
                        <a:lumMod val="95000"/>
                      </a:schemeClr>
                    </a:solidFill>
                  </a:tcPr>
                </a:tc>
              </a:tr>
              <a:tr h="307232">
                <a:tc>
                  <a:txBody>
                    <a:bodyPr/>
                    <a:lstStyle/>
                    <a:p>
                      <a:pPr algn="ctr"/>
                      <a:r>
                        <a:rPr lang="en-US" sz="1400" dirty="0" smtClean="0"/>
                        <a:t>Commercial</a:t>
                      </a:r>
                      <a:endParaRPr lang="en-US" sz="1400" dirty="0"/>
                    </a:p>
                  </a:txBody>
                  <a:tcPr>
                    <a:solidFill>
                      <a:schemeClr val="accent2">
                        <a:lumMod val="40000"/>
                        <a:lumOff val="60000"/>
                      </a:schemeClr>
                    </a:solidFill>
                  </a:tcPr>
                </a:tc>
                <a:tc>
                  <a:txBody>
                    <a:bodyPr/>
                    <a:lstStyle/>
                    <a:p>
                      <a:pPr algn="ctr"/>
                      <a:r>
                        <a:rPr lang="en-US" sz="1400" dirty="0" smtClean="0"/>
                        <a:t>37</a:t>
                      </a:r>
                      <a:endParaRPr lang="en-US" sz="1400" dirty="0"/>
                    </a:p>
                  </a:txBody>
                  <a:tcPr>
                    <a:solidFill>
                      <a:schemeClr val="bg2">
                        <a:lumMod val="60000"/>
                        <a:lumOff val="40000"/>
                      </a:schemeClr>
                    </a:solidFill>
                  </a:tcPr>
                </a:tc>
                <a:tc>
                  <a:txBody>
                    <a:bodyPr/>
                    <a:lstStyle/>
                    <a:p>
                      <a:pPr algn="ctr"/>
                      <a:r>
                        <a:rPr lang="en-US" sz="1400" dirty="0" smtClean="0"/>
                        <a:t>20%</a:t>
                      </a:r>
                      <a:endParaRPr lang="en-US" sz="1400" dirty="0"/>
                    </a:p>
                  </a:txBody>
                  <a:tcPr>
                    <a:solidFill>
                      <a:schemeClr val="accent2">
                        <a:lumMod val="40000"/>
                        <a:lumOff val="60000"/>
                      </a:schemeClr>
                    </a:solidFill>
                  </a:tcPr>
                </a:tc>
              </a:tr>
            </a:tbl>
          </a:graphicData>
        </a:graphic>
      </p:graphicFrame>
      <p:sp>
        <p:nvSpPr>
          <p:cNvPr id="16" name="Rectangle 15"/>
          <p:cNvSpPr/>
          <p:nvPr/>
        </p:nvSpPr>
        <p:spPr>
          <a:xfrm>
            <a:off x="473075" y="1061812"/>
            <a:ext cx="8164513" cy="369332"/>
          </a:xfrm>
          <a:prstGeom prst="rect">
            <a:avLst/>
          </a:prstGeom>
          <a:solidFill>
            <a:schemeClr val="tx2"/>
          </a:solidFill>
        </p:spPr>
        <p:txBody>
          <a:bodyPr wrap="square">
            <a:spAutoFit/>
          </a:bodyPr>
          <a:lstStyle/>
          <a:p>
            <a:pPr algn="ctr" fontAlgn="base">
              <a:spcBef>
                <a:spcPct val="0"/>
              </a:spcBef>
              <a:spcAft>
                <a:spcPct val="0"/>
              </a:spcAft>
            </a:pPr>
            <a:r>
              <a:rPr lang="en-US" dirty="0">
                <a:solidFill>
                  <a:prstClr val="white"/>
                </a:solidFill>
                <a:latin typeface="Arial" charset="0"/>
              </a:rPr>
              <a:t> They account for 80% of the harvested area</a:t>
            </a:r>
          </a:p>
        </p:txBody>
      </p:sp>
    </p:spTree>
    <p:extLst>
      <p:ext uri="{BB962C8B-B14F-4D97-AF65-F5344CB8AC3E}">
        <p14:creationId xmlns:p14="http://schemas.microsoft.com/office/powerpoint/2010/main" xmlns="" val="34685976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Table 104"/>
          <p:cNvGraphicFramePr>
            <a:graphicFrameLocks noGrp="1"/>
          </p:cNvGraphicFramePr>
          <p:nvPr>
            <p:extLst>
              <p:ext uri="{D42A27DB-BD31-4B8C-83A1-F6EECF244321}">
                <p14:modId xmlns:p14="http://schemas.microsoft.com/office/powerpoint/2010/main" xmlns="" val="1783267473"/>
              </p:ext>
            </p:extLst>
          </p:nvPr>
        </p:nvGraphicFramePr>
        <p:xfrm>
          <a:off x="7651521" y="609600"/>
          <a:ext cx="953814" cy="3681352"/>
        </p:xfrm>
        <a:graphic>
          <a:graphicData uri="http://schemas.openxmlformats.org/drawingml/2006/table">
            <a:tbl>
              <a:tblPr>
                <a:tableStyleId>{775DCB02-9BB8-47FD-8907-85C794F793BA}</a:tableStyleId>
              </a:tblPr>
              <a:tblGrid>
                <a:gridCol w="953814"/>
              </a:tblGrid>
              <a:tr h="5013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smtClean="0">
                          <a:solidFill>
                            <a:srgbClr val="292929"/>
                          </a:solidFill>
                        </a:rPr>
                        <a:t>% of Contractors</a:t>
                      </a:r>
                      <a:endParaRPr lang="en-US" sz="900" b="1" dirty="0">
                        <a:solidFill>
                          <a:srgbClr val="292929"/>
                        </a:solidFill>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775160">
                <a:tc>
                  <a:txBody>
                    <a:bodyPr/>
                    <a:lstStyle/>
                    <a:p>
                      <a:pPr algn="ctr"/>
                      <a:r>
                        <a:rPr lang="en-US" sz="1000" b="1" dirty="0" smtClean="0">
                          <a:solidFill>
                            <a:srgbClr val="292929"/>
                          </a:solidFill>
                        </a:rPr>
                        <a:t>19%</a:t>
                      </a:r>
                      <a:endParaRPr lang="en-US" sz="1000" b="1" dirty="0">
                        <a:solidFill>
                          <a:srgbClr val="292929"/>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89066">
                <a:tc>
                  <a:txBody>
                    <a:bodyPr/>
                    <a:lstStyle/>
                    <a:p>
                      <a:pPr algn="ctr"/>
                      <a:r>
                        <a:rPr lang="en-US" sz="1000" b="1" dirty="0" smtClean="0">
                          <a:solidFill>
                            <a:srgbClr val="292929"/>
                          </a:solidFill>
                        </a:rPr>
                        <a:t>5%</a:t>
                      </a:r>
                      <a:endParaRPr lang="en-US" sz="1000" b="1" dirty="0">
                        <a:solidFill>
                          <a:srgbClr val="292929"/>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767529">
                <a:tc>
                  <a:txBody>
                    <a:bodyPr/>
                    <a:lstStyle/>
                    <a:p>
                      <a:pPr algn="ctr"/>
                      <a:r>
                        <a:rPr lang="en-US" sz="1000" b="1" dirty="0" smtClean="0">
                          <a:solidFill>
                            <a:srgbClr val="292929"/>
                          </a:solidFill>
                        </a:rPr>
                        <a:t>22%</a:t>
                      </a:r>
                      <a:endParaRPr lang="en-US" sz="1000" b="1" dirty="0">
                        <a:solidFill>
                          <a:srgbClr val="292929"/>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948289">
                <a:tc>
                  <a:txBody>
                    <a:bodyPr/>
                    <a:lstStyle/>
                    <a:p>
                      <a:pPr algn="ctr"/>
                      <a:r>
                        <a:rPr lang="en-US" sz="1000" b="1" dirty="0" smtClean="0">
                          <a:solidFill>
                            <a:srgbClr val="292929"/>
                          </a:solidFill>
                        </a:rPr>
                        <a:t>5%</a:t>
                      </a:r>
                      <a:endParaRPr lang="en-US" sz="1000" b="1" dirty="0">
                        <a:solidFill>
                          <a:srgbClr val="292929"/>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01" name="Table 100"/>
          <p:cNvGraphicFramePr>
            <a:graphicFrameLocks noGrp="1"/>
          </p:cNvGraphicFramePr>
          <p:nvPr>
            <p:extLst>
              <p:ext uri="{D42A27DB-BD31-4B8C-83A1-F6EECF244321}">
                <p14:modId xmlns:p14="http://schemas.microsoft.com/office/powerpoint/2010/main" xmlns="" val="2993675190"/>
              </p:ext>
            </p:extLst>
          </p:nvPr>
        </p:nvGraphicFramePr>
        <p:xfrm>
          <a:off x="293455" y="4950565"/>
          <a:ext cx="8523000" cy="1097280"/>
        </p:xfrm>
        <a:graphic>
          <a:graphicData uri="http://schemas.openxmlformats.org/drawingml/2006/table">
            <a:tbl>
              <a:tblPr>
                <a:effectLst>
                  <a:outerShdw blurRad="50800" dist="38100" dir="5400000" algn="t" rotWithShape="0">
                    <a:prstClr val="black">
                      <a:alpha val="40000"/>
                    </a:prstClr>
                  </a:outerShdw>
                </a:effectLst>
              </a:tblPr>
              <a:tblGrid>
                <a:gridCol w="1704600"/>
                <a:gridCol w="1704600"/>
                <a:gridCol w="1704600"/>
                <a:gridCol w="1704600"/>
                <a:gridCol w="1704600"/>
              </a:tblGrid>
              <a:tr h="228600">
                <a:tc>
                  <a:txBody>
                    <a:bodyPr/>
                    <a:lstStyle/>
                    <a:p>
                      <a:endParaRPr lang="en-US" sz="1400" dirty="0"/>
                    </a:p>
                  </a:txBody>
                  <a:tcPr>
                    <a:lnL w="38100" cmpd="sng">
                      <a:solidFill>
                        <a:schemeClr val="tx1"/>
                      </a:solidFill>
                      <a:prstDash val="solid"/>
                    </a:lnL>
                    <a:lnR w="3175" cap="flat" cmpd="sng" algn="ctr">
                      <a:solidFill>
                        <a:schemeClr val="tx1"/>
                      </a:solidFill>
                      <a:prstDash val="solid"/>
                      <a:round/>
                      <a:headEnd type="none" w="med" len="med"/>
                      <a:tailEnd type="none" w="med" len="med"/>
                    </a:lnR>
                    <a:lnT w="38100" cmpd="sng">
                      <a:solidFill>
                        <a:schemeClr val="tx1"/>
                      </a:solidFill>
                      <a:prstDash val="soli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a:lnL w="3175" cap="flat" cmpd="sng" algn="ctr">
                      <a:solidFill>
                        <a:schemeClr val="tx1"/>
                      </a:solidFill>
                      <a:prstDash val="solid"/>
                      <a:round/>
                      <a:headEnd type="none" w="med" len="med"/>
                      <a:tailEnd type="none" w="med" len="med"/>
                    </a:lnL>
                    <a:lnR w="38100" cmpd="sng">
                      <a:solidFill>
                        <a:schemeClr val="tx1"/>
                      </a:solidFill>
                      <a:prstDash val="soli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197986">
                <a:tc>
                  <a:txBody>
                    <a:bodyPr/>
                    <a:lstStyle/>
                    <a:p>
                      <a:pPr algn="ctr"/>
                      <a:r>
                        <a:rPr lang="en-US" sz="1000" b="1" dirty="0" smtClean="0"/>
                        <a:t>Subsistence</a:t>
                      </a:r>
                      <a:r>
                        <a:rPr lang="en-US" sz="1000" b="1" baseline="0" dirty="0" smtClean="0"/>
                        <a:t> Famer</a:t>
                      </a:r>
                      <a:endParaRPr lang="en-US" sz="1000" b="1"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smtClean="0"/>
                        <a:t>Micro Holders</a:t>
                      </a:r>
                      <a:endParaRPr lang="en-US" sz="1000" b="1"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smtClean="0"/>
                        <a:t>Small Holder</a:t>
                      </a:r>
                      <a:endParaRPr lang="en-US" sz="1000" b="1"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smtClean="0"/>
                        <a:t>Medium Holders</a:t>
                      </a:r>
                      <a:endParaRPr lang="en-US" sz="1000" b="1"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smtClean="0"/>
                        <a:t>Large</a:t>
                      </a:r>
                      <a:r>
                        <a:rPr lang="en-US" sz="1000" b="1" baseline="0" dirty="0" smtClean="0"/>
                        <a:t> Holders</a:t>
                      </a:r>
                      <a:endParaRPr lang="en-US" sz="1000" b="1" dirty="0"/>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380177">
                <a:tc>
                  <a:txBody>
                    <a:bodyPr/>
                    <a:lstStyle/>
                    <a:p>
                      <a:pPr algn="ctr"/>
                      <a:r>
                        <a:rPr lang="en-US" sz="1000" dirty="0" smtClean="0"/>
                        <a:t>Cano not afford mechanization/ outsourcing</a:t>
                      </a:r>
                      <a:endParaRPr lang="en-US" sz="100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mpd="sng">
                      <a:solidFill>
                        <a:schemeClr val="tx1"/>
                      </a:solidFill>
                      <a:prstDash val="solid"/>
                    </a:lnB>
                    <a:solidFill>
                      <a:schemeClr val="bg1"/>
                    </a:solidFill>
                  </a:tcPr>
                </a:tc>
                <a:tc>
                  <a:txBody>
                    <a:bodyPr/>
                    <a:lstStyle/>
                    <a:p>
                      <a:pPr algn="ctr"/>
                      <a:r>
                        <a:rPr lang="en-US" sz="1000" dirty="0" smtClean="0"/>
                        <a:t>Starting</a:t>
                      </a:r>
                      <a:r>
                        <a:rPr lang="en-US" sz="1000" baseline="0" dirty="0" smtClean="0"/>
                        <a:t> M</a:t>
                      </a:r>
                      <a:r>
                        <a:rPr lang="en-US" sz="1000" dirty="0" smtClean="0"/>
                        <a:t>echanization Ownership</a:t>
                      </a:r>
                    </a:p>
                    <a:p>
                      <a:pPr algn="ctr"/>
                      <a:r>
                        <a:rPr lang="en-US" sz="1000" dirty="0" smtClean="0"/>
                        <a:t>(0-20%)</a:t>
                      </a:r>
                      <a:endParaRPr lang="en-US" sz="10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smtClean="0"/>
                        <a:t>Mechanization Ownership at (</a:t>
                      </a:r>
                      <a:r>
                        <a:rPr lang="en-US" sz="1000" baseline="0" dirty="0" smtClean="0"/>
                        <a:t>20% - 80%)</a:t>
                      </a:r>
                      <a:endParaRPr lang="en-US" sz="1000" dirty="0" smtClean="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algn="ctr"/>
                      <a:r>
                        <a:rPr lang="en-US" sz="1000" dirty="0" smtClean="0"/>
                        <a:t>Mechanized</a:t>
                      </a:r>
                    </a:p>
                    <a:p>
                      <a:pPr algn="ctr"/>
                      <a:r>
                        <a:rPr lang="en-US" sz="1000" dirty="0" smtClean="0"/>
                        <a:t>(80%-100%)</a:t>
                      </a:r>
                      <a:endParaRPr lang="en-US" sz="1000" dirty="0"/>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algn="ctr"/>
                      <a:r>
                        <a:rPr lang="en-US" sz="1000" dirty="0" smtClean="0"/>
                        <a:t>Fully mechanized</a:t>
                      </a:r>
                    </a:p>
                    <a:p>
                      <a:pPr algn="ctr"/>
                      <a:r>
                        <a:rPr lang="en-US" sz="1000" dirty="0" smtClean="0"/>
                        <a:t>(100%)</a:t>
                      </a:r>
                      <a:endParaRPr lang="en-US" sz="1000" dirty="0"/>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r>
            </a:tbl>
          </a:graphicData>
        </a:graphic>
      </p:graphicFrame>
      <p:sp>
        <p:nvSpPr>
          <p:cNvPr id="2" name="Title 1"/>
          <p:cNvSpPr>
            <a:spLocks noGrp="1"/>
          </p:cNvSpPr>
          <p:nvPr>
            <p:ph type="title"/>
          </p:nvPr>
        </p:nvSpPr>
        <p:spPr>
          <a:xfrm>
            <a:off x="327025" y="157163"/>
            <a:ext cx="8494713" cy="649287"/>
          </a:xfrm>
        </p:spPr>
        <p:txBody>
          <a:bodyPr/>
          <a:lstStyle/>
          <a:p>
            <a:r>
              <a:rPr lang="en-US" dirty="0" smtClean="0"/>
              <a:t>Asia &amp; Africa Agricultural Customer Census Data</a:t>
            </a:r>
            <a:endParaRPr lang="en-US" dirty="0"/>
          </a:p>
        </p:txBody>
      </p:sp>
      <p:cxnSp>
        <p:nvCxnSpPr>
          <p:cNvPr id="8" name="Straight Arrow Connector 7"/>
          <p:cNvCxnSpPr/>
          <p:nvPr/>
        </p:nvCxnSpPr>
        <p:spPr>
          <a:xfrm>
            <a:off x="907724" y="4351693"/>
            <a:ext cx="7474688" cy="0"/>
          </a:xfrm>
          <a:prstGeom prst="straightConnector1">
            <a:avLst/>
          </a:prstGeom>
          <a:ln w="6350">
            <a:tailEnd type="arrow"/>
          </a:ln>
        </p:spPr>
        <p:style>
          <a:lnRef idx="1">
            <a:schemeClr val="accent1"/>
          </a:lnRef>
          <a:fillRef idx="0">
            <a:schemeClr val="accent1"/>
          </a:fillRef>
          <a:effectRef idx="0">
            <a:schemeClr val="accent1"/>
          </a:effectRef>
          <a:fontRef idx="minor">
            <a:schemeClr val="tx1"/>
          </a:fontRef>
        </p:style>
      </p:cxnSp>
      <p:sp>
        <p:nvSpPr>
          <p:cNvPr id="9" name="Right Triangle 8"/>
          <p:cNvSpPr/>
          <p:nvPr/>
        </p:nvSpPr>
        <p:spPr>
          <a:xfrm flipH="1">
            <a:off x="2860016" y="1158934"/>
            <a:ext cx="2638424" cy="551507"/>
          </a:xfrm>
          <a:prstGeom prst="rtTriangle">
            <a:avLst/>
          </a:prstGeom>
          <a:solidFill>
            <a:schemeClr val="accent5">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Flowchart: Manual Input 11"/>
          <p:cNvSpPr/>
          <p:nvPr/>
        </p:nvSpPr>
        <p:spPr>
          <a:xfrm>
            <a:off x="5498442" y="1019312"/>
            <a:ext cx="1412997" cy="691129"/>
          </a:xfrm>
          <a:prstGeom prst="flowChartManualInput">
            <a:avLst/>
          </a:prstGeom>
          <a:solidFill>
            <a:schemeClr val="accent5">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Flowchart: Process 13"/>
          <p:cNvSpPr/>
          <p:nvPr/>
        </p:nvSpPr>
        <p:spPr>
          <a:xfrm>
            <a:off x="6895277" y="1019312"/>
            <a:ext cx="419100" cy="691129"/>
          </a:xfrm>
          <a:prstGeom prst="flowChartProcess">
            <a:avLst/>
          </a:prstGeom>
          <a:solidFill>
            <a:srgbClr val="41763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TextBox 19"/>
          <p:cNvSpPr txBox="1"/>
          <p:nvPr/>
        </p:nvSpPr>
        <p:spPr>
          <a:xfrm>
            <a:off x="3429000" y="4645765"/>
            <a:ext cx="1962397" cy="276999"/>
          </a:xfrm>
          <a:prstGeom prst="rect">
            <a:avLst/>
          </a:prstGeom>
          <a:noFill/>
        </p:spPr>
        <p:txBody>
          <a:bodyPr wrap="square" rtlCol="0">
            <a:spAutoFit/>
          </a:bodyPr>
          <a:lstStyle/>
          <a:p>
            <a:r>
              <a:rPr lang="en-US" sz="1200" b="1" dirty="0" smtClean="0"/>
              <a:t>Land Holding Size</a:t>
            </a:r>
            <a:endParaRPr lang="en-US" sz="1200" b="1" dirty="0"/>
          </a:p>
        </p:txBody>
      </p:sp>
      <p:sp>
        <p:nvSpPr>
          <p:cNvPr id="21" name="TextBox 20"/>
          <p:cNvSpPr txBox="1"/>
          <p:nvPr/>
        </p:nvSpPr>
        <p:spPr>
          <a:xfrm>
            <a:off x="99968" y="6232634"/>
            <a:ext cx="6529432" cy="584775"/>
          </a:xfrm>
          <a:prstGeom prst="rect">
            <a:avLst/>
          </a:prstGeom>
          <a:solidFill>
            <a:schemeClr val="bg1">
              <a:lumMod val="85000"/>
            </a:schemeClr>
          </a:solidFill>
        </p:spPr>
        <p:txBody>
          <a:bodyPr wrap="square" rtlCol="0">
            <a:spAutoFit/>
          </a:bodyPr>
          <a:lstStyle/>
          <a:p>
            <a:r>
              <a:rPr lang="en-US" sz="800" dirty="0" smtClean="0"/>
              <a:t>Note:</a:t>
            </a:r>
          </a:p>
          <a:p>
            <a:pPr marL="342900" indent="-342900">
              <a:buAutoNum type="arabicPeriod"/>
            </a:pPr>
            <a:r>
              <a:rPr lang="en-US" sz="800" dirty="0" smtClean="0"/>
              <a:t>Land holding size includes the land customers owned, rented or leased land</a:t>
            </a:r>
          </a:p>
          <a:p>
            <a:pPr marL="342900" indent="-342900">
              <a:buAutoNum type="arabicPeriod"/>
            </a:pPr>
            <a:r>
              <a:rPr lang="en-US" sz="800" dirty="0" smtClean="0"/>
              <a:t>Mechanization is measured by either a. owning a 2 axle Ag equipment or b. outsourced to a mechanized method.</a:t>
            </a:r>
          </a:p>
          <a:p>
            <a:pPr marL="342900" indent="-342900">
              <a:buFontTx/>
              <a:buAutoNum type="arabicPeriod"/>
            </a:pPr>
            <a:r>
              <a:rPr lang="en-US" sz="800" dirty="0" smtClean="0"/>
              <a:t>SSA uses different criteria: 10% for outsourcing and 20% for self servicing</a:t>
            </a:r>
            <a:endParaRPr lang="en-US" sz="800" dirty="0"/>
          </a:p>
        </p:txBody>
      </p:sp>
      <p:sp>
        <p:nvSpPr>
          <p:cNvPr id="35" name="TextBox 34"/>
          <p:cNvSpPr txBox="1"/>
          <p:nvPr/>
        </p:nvSpPr>
        <p:spPr>
          <a:xfrm>
            <a:off x="783566" y="4373480"/>
            <a:ext cx="7753350" cy="261610"/>
          </a:xfrm>
          <a:prstGeom prst="rect">
            <a:avLst/>
          </a:prstGeom>
          <a:noFill/>
        </p:spPr>
        <p:txBody>
          <a:bodyPr wrap="square" rtlCol="0">
            <a:spAutoFit/>
          </a:bodyPr>
          <a:lstStyle/>
          <a:p>
            <a:r>
              <a:rPr lang="en-US" sz="1100" dirty="0" smtClean="0"/>
              <a:t>0       0.25  	 0.5	1	 2           	5	10	25         100  </a:t>
            </a:r>
            <a:r>
              <a:rPr lang="en-US" sz="800" b="0" dirty="0" smtClean="0"/>
              <a:t>(in Hectare)</a:t>
            </a:r>
            <a:endParaRPr lang="en-US" sz="800" b="0" dirty="0"/>
          </a:p>
        </p:txBody>
      </p:sp>
      <p:sp>
        <p:nvSpPr>
          <p:cNvPr id="50" name="Flowchart: Manual Input 49"/>
          <p:cNvSpPr/>
          <p:nvPr/>
        </p:nvSpPr>
        <p:spPr>
          <a:xfrm>
            <a:off x="5498441" y="1828937"/>
            <a:ext cx="1412998" cy="691129"/>
          </a:xfrm>
          <a:prstGeom prst="flowChartManualInput">
            <a:avLst/>
          </a:prstGeom>
          <a:solidFill>
            <a:schemeClr val="accent5">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1" name="Flowchart: Process 50"/>
          <p:cNvSpPr/>
          <p:nvPr/>
        </p:nvSpPr>
        <p:spPr>
          <a:xfrm>
            <a:off x="6904802" y="1828937"/>
            <a:ext cx="428624" cy="691129"/>
          </a:xfrm>
          <a:prstGeom prst="flowChartProcess">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4" name="Flowchart: Manual Input 53"/>
          <p:cNvSpPr/>
          <p:nvPr/>
        </p:nvSpPr>
        <p:spPr>
          <a:xfrm>
            <a:off x="6441415" y="2657612"/>
            <a:ext cx="470024" cy="691129"/>
          </a:xfrm>
          <a:prstGeom prst="flowChartManualInput">
            <a:avLst/>
          </a:prstGeom>
          <a:solidFill>
            <a:schemeClr val="accent5">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5" name="Flowchart: Process 54"/>
          <p:cNvSpPr/>
          <p:nvPr/>
        </p:nvSpPr>
        <p:spPr>
          <a:xfrm>
            <a:off x="6895278" y="2657612"/>
            <a:ext cx="447673" cy="691129"/>
          </a:xfrm>
          <a:prstGeom prst="flowChartProcess">
            <a:avLst/>
          </a:prstGeom>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2" name="Right Triangle 61"/>
          <p:cNvSpPr/>
          <p:nvPr/>
        </p:nvSpPr>
        <p:spPr>
          <a:xfrm flipH="1">
            <a:off x="878816" y="1519942"/>
            <a:ext cx="2847975" cy="178968"/>
          </a:xfrm>
          <a:prstGeom prst="r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3" name="Right Triangle 62"/>
          <p:cNvSpPr/>
          <p:nvPr/>
        </p:nvSpPr>
        <p:spPr>
          <a:xfrm flipH="1">
            <a:off x="3069565" y="1968559"/>
            <a:ext cx="2428875" cy="551507"/>
          </a:xfrm>
          <a:prstGeom prst="rtTriangle">
            <a:avLst/>
          </a:prstGeom>
          <a:solidFill>
            <a:schemeClr val="accent5">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4" name="Right Triangle 63"/>
          <p:cNvSpPr/>
          <p:nvPr/>
        </p:nvSpPr>
        <p:spPr>
          <a:xfrm flipH="1">
            <a:off x="1450316" y="2377193"/>
            <a:ext cx="2257425" cy="140868"/>
          </a:xfrm>
          <a:prstGeom prst="r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5" name="Right Triangle 64"/>
          <p:cNvSpPr/>
          <p:nvPr/>
        </p:nvSpPr>
        <p:spPr>
          <a:xfrm flipH="1">
            <a:off x="5031715" y="2797234"/>
            <a:ext cx="1409699" cy="551507"/>
          </a:xfrm>
          <a:prstGeom prst="rtTriangle">
            <a:avLst/>
          </a:prstGeom>
          <a:solidFill>
            <a:schemeClr val="accent5">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6" name="Right Triangle 65"/>
          <p:cNvSpPr/>
          <p:nvPr/>
        </p:nvSpPr>
        <p:spPr>
          <a:xfrm flipH="1">
            <a:off x="831189" y="3189166"/>
            <a:ext cx="4686302" cy="169444"/>
          </a:xfrm>
          <a:prstGeom prst="r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67" name="Right Triangle 66"/>
          <p:cNvSpPr/>
          <p:nvPr/>
        </p:nvSpPr>
        <p:spPr>
          <a:xfrm flipH="1">
            <a:off x="3726785" y="3884960"/>
            <a:ext cx="3664232" cy="287238"/>
          </a:xfrm>
          <a:prstGeom prst="rtTriangle">
            <a:avLst/>
          </a:prstGeom>
          <a:solidFill>
            <a:schemeClr val="accent5">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8" name="Right Triangle 67"/>
          <p:cNvSpPr/>
          <p:nvPr/>
        </p:nvSpPr>
        <p:spPr>
          <a:xfrm flipH="1">
            <a:off x="1850366" y="4051584"/>
            <a:ext cx="3657596" cy="123825"/>
          </a:xfrm>
          <a:prstGeom prst="r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cxnSp>
        <p:nvCxnSpPr>
          <p:cNvPr id="31" name="Straight Connector 30"/>
          <p:cNvCxnSpPr/>
          <p:nvPr/>
        </p:nvCxnSpPr>
        <p:spPr>
          <a:xfrm>
            <a:off x="876115" y="90833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447615"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752540"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904815"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562290"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438715"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920733"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495740"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2936216" y="1262390"/>
            <a:ext cx="466794" cy="261610"/>
          </a:xfrm>
          <a:prstGeom prst="rect">
            <a:avLst/>
          </a:prstGeom>
          <a:noFill/>
          <a:ln>
            <a:noFill/>
          </a:ln>
        </p:spPr>
        <p:txBody>
          <a:bodyPr wrap="none" rtlCol="0">
            <a:spAutoFit/>
          </a:bodyPr>
          <a:lstStyle/>
          <a:p>
            <a:r>
              <a:rPr lang="en-US" sz="1100" dirty="0" smtClean="0"/>
              <a:t>87%</a:t>
            </a:r>
            <a:endParaRPr lang="en-US" sz="1100" dirty="0"/>
          </a:p>
        </p:txBody>
      </p:sp>
      <p:sp>
        <p:nvSpPr>
          <p:cNvPr id="72" name="TextBox 71"/>
          <p:cNvSpPr txBox="1"/>
          <p:nvPr/>
        </p:nvSpPr>
        <p:spPr>
          <a:xfrm>
            <a:off x="3002891" y="2189448"/>
            <a:ext cx="466794" cy="261610"/>
          </a:xfrm>
          <a:prstGeom prst="rect">
            <a:avLst/>
          </a:prstGeom>
          <a:noFill/>
          <a:ln>
            <a:noFill/>
          </a:ln>
        </p:spPr>
        <p:txBody>
          <a:bodyPr wrap="none" rtlCol="0">
            <a:spAutoFit/>
          </a:bodyPr>
          <a:lstStyle/>
          <a:p>
            <a:r>
              <a:rPr lang="en-US" sz="1100" dirty="0" smtClean="0"/>
              <a:t>52%</a:t>
            </a:r>
            <a:endParaRPr lang="en-US" sz="1100" dirty="0"/>
          </a:p>
        </p:txBody>
      </p:sp>
      <p:sp>
        <p:nvSpPr>
          <p:cNvPr id="73" name="TextBox 72"/>
          <p:cNvSpPr txBox="1"/>
          <p:nvPr/>
        </p:nvSpPr>
        <p:spPr>
          <a:xfrm>
            <a:off x="1040741" y="2189448"/>
            <a:ext cx="388248" cy="261610"/>
          </a:xfrm>
          <a:prstGeom prst="rect">
            <a:avLst/>
          </a:prstGeom>
          <a:noFill/>
          <a:ln>
            <a:noFill/>
          </a:ln>
        </p:spPr>
        <p:txBody>
          <a:bodyPr wrap="none" rtlCol="0">
            <a:spAutoFit/>
          </a:bodyPr>
          <a:lstStyle/>
          <a:p>
            <a:r>
              <a:rPr lang="en-US" sz="1100" dirty="0" smtClean="0"/>
              <a:t>3%</a:t>
            </a:r>
            <a:endParaRPr lang="en-US" sz="1100" dirty="0"/>
          </a:p>
        </p:txBody>
      </p:sp>
      <p:sp>
        <p:nvSpPr>
          <p:cNvPr id="74" name="TextBox 73"/>
          <p:cNvSpPr txBox="1"/>
          <p:nvPr/>
        </p:nvSpPr>
        <p:spPr>
          <a:xfrm>
            <a:off x="4736441" y="1384585"/>
            <a:ext cx="466794" cy="261610"/>
          </a:xfrm>
          <a:prstGeom prst="rect">
            <a:avLst/>
          </a:prstGeom>
          <a:noFill/>
          <a:ln>
            <a:noFill/>
          </a:ln>
        </p:spPr>
        <p:txBody>
          <a:bodyPr wrap="none" rtlCol="0">
            <a:spAutoFit/>
          </a:bodyPr>
          <a:lstStyle/>
          <a:p>
            <a:r>
              <a:rPr lang="en-US" sz="1100" dirty="0" smtClean="0"/>
              <a:t>12%</a:t>
            </a:r>
            <a:endParaRPr lang="en-US" sz="1100" dirty="0"/>
          </a:p>
        </p:txBody>
      </p:sp>
      <p:sp>
        <p:nvSpPr>
          <p:cNvPr id="75" name="TextBox 74"/>
          <p:cNvSpPr txBox="1"/>
          <p:nvPr/>
        </p:nvSpPr>
        <p:spPr>
          <a:xfrm>
            <a:off x="6289016" y="1384585"/>
            <a:ext cx="388248" cy="261610"/>
          </a:xfrm>
          <a:prstGeom prst="rect">
            <a:avLst/>
          </a:prstGeom>
          <a:noFill/>
          <a:ln>
            <a:noFill/>
          </a:ln>
        </p:spPr>
        <p:txBody>
          <a:bodyPr wrap="none" rtlCol="0">
            <a:spAutoFit/>
          </a:bodyPr>
          <a:lstStyle/>
          <a:p>
            <a:r>
              <a:rPr lang="en-US" sz="1100" dirty="0" smtClean="0"/>
              <a:t>1%</a:t>
            </a:r>
            <a:endParaRPr lang="en-US" sz="1100" dirty="0"/>
          </a:p>
        </p:txBody>
      </p:sp>
      <p:sp>
        <p:nvSpPr>
          <p:cNvPr id="76" name="TextBox 75"/>
          <p:cNvSpPr txBox="1"/>
          <p:nvPr/>
        </p:nvSpPr>
        <p:spPr>
          <a:xfrm>
            <a:off x="4736441" y="2189448"/>
            <a:ext cx="466794" cy="261610"/>
          </a:xfrm>
          <a:prstGeom prst="rect">
            <a:avLst/>
          </a:prstGeom>
          <a:noFill/>
          <a:ln>
            <a:noFill/>
          </a:ln>
        </p:spPr>
        <p:txBody>
          <a:bodyPr wrap="none" rtlCol="0">
            <a:spAutoFit/>
          </a:bodyPr>
          <a:lstStyle/>
          <a:p>
            <a:r>
              <a:rPr lang="en-US" sz="1100" dirty="0" smtClean="0"/>
              <a:t>41%</a:t>
            </a:r>
            <a:endParaRPr lang="en-US" sz="1100" dirty="0"/>
          </a:p>
        </p:txBody>
      </p:sp>
      <p:sp>
        <p:nvSpPr>
          <p:cNvPr id="77" name="TextBox 76"/>
          <p:cNvSpPr txBox="1"/>
          <p:nvPr/>
        </p:nvSpPr>
        <p:spPr>
          <a:xfrm>
            <a:off x="3021941" y="3035360"/>
            <a:ext cx="466794" cy="261610"/>
          </a:xfrm>
          <a:prstGeom prst="rect">
            <a:avLst/>
          </a:prstGeom>
          <a:noFill/>
          <a:ln>
            <a:noFill/>
          </a:ln>
        </p:spPr>
        <p:txBody>
          <a:bodyPr wrap="none" rtlCol="0">
            <a:spAutoFit/>
          </a:bodyPr>
          <a:lstStyle/>
          <a:p>
            <a:r>
              <a:rPr lang="en-US" sz="1100" dirty="0" smtClean="0"/>
              <a:t>98%</a:t>
            </a:r>
            <a:endParaRPr lang="en-US" sz="1100" dirty="0"/>
          </a:p>
        </p:txBody>
      </p:sp>
      <p:sp>
        <p:nvSpPr>
          <p:cNvPr id="78" name="TextBox 77"/>
          <p:cNvSpPr txBox="1"/>
          <p:nvPr/>
        </p:nvSpPr>
        <p:spPr>
          <a:xfrm>
            <a:off x="5765141" y="3035360"/>
            <a:ext cx="388248" cy="261610"/>
          </a:xfrm>
          <a:prstGeom prst="rect">
            <a:avLst/>
          </a:prstGeom>
          <a:noFill/>
          <a:ln>
            <a:noFill/>
          </a:ln>
        </p:spPr>
        <p:txBody>
          <a:bodyPr wrap="none" rtlCol="0">
            <a:spAutoFit/>
          </a:bodyPr>
          <a:lstStyle/>
          <a:p>
            <a:r>
              <a:rPr lang="en-US" sz="1100" dirty="0" smtClean="0"/>
              <a:t>1%</a:t>
            </a:r>
            <a:endParaRPr lang="en-US" sz="1100" dirty="0"/>
          </a:p>
        </p:txBody>
      </p:sp>
      <p:sp>
        <p:nvSpPr>
          <p:cNvPr id="79" name="TextBox 78"/>
          <p:cNvSpPr txBox="1"/>
          <p:nvPr/>
        </p:nvSpPr>
        <p:spPr>
          <a:xfrm>
            <a:off x="6858000" y="1384585"/>
            <a:ext cx="505267" cy="261610"/>
          </a:xfrm>
          <a:prstGeom prst="rect">
            <a:avLst/>
          </a:prstGeom>
          <a:noFill/>
          <a:ln>
            <a:noFill/>
          </a:ln>
        </p:spPr>
        <p:txBody>
          <a:bodyPr wrap="none" rtlCol="0">
            <a:spAutoFit/>
          </a:bodyPr>
          <a:lstStyle/>
          <a:p>
            <a:r>
              <a:rPr lang="en-US" sz="1100" dirty="0" smtClean="0"/>
              <a:t>0.3%</a:t>
            </a:r>
            <a:endParaRPr lang="en-US" sz="1100" dirty="0"/>
          </a:p>
        </p:txBody>
      </p:sp>
      <p:sp>
        <p:nvSpPr>
          <p:cNvPr id="80" name="TextBox 79"/>
          <p:cNvSpPr txBox="1"/>
          <p:nvPr/>
        </p:nvSpPr>
        <p:spPr>
          <a:xfrm>
            <a:off x="6212816" y="2189448"/>
            <a:ext cx="388248" cy="261610"/>
          </a:xfrm>
          <a:prstGeom prst="rect">
            <a:avLst/>
          </a:prstGeom>
          <a:noFill/>
          <a:ln>
            <a:noFill/>
          </a:ln>
        </p:spPr>
        <p:txBody>
          <a:bodyPr wrap="none" rtlCol="0">
            <a:spAutoFit/>
          </a:bodyPr>
          <a:lstStyle/>
          <a:p>
            <a:r>
              <a:rPr lang="en-US" sz="1100" dirty="0" smtClean="0"/>
              <a:t>3%</a:t>
            </a:r>
            <a:endParaRPr lang="en-US" sz="1100" dirty="0"/>
          </a:p>
        </p:txBody>
      </p:sp>
      <p:sp>
        <p:nvSpPr>
          <p:cNvPr id="81" name="TextBox 80"/>
          <p:cNvSpPr txBox="1"/>
          <p:nvPr/>
        </p:nvSpPr>
        <p:spPr>
          <a:xfrm>
            <a:off x="6885751" y="2189448"/>
            <a:ext cx="505267" cy="261610"/>
          </a:xfrm>
          <a:prstGeom prst="rect">
            <a:avLst/>
          </a:prstGeom>
          <a:noFill/>
          <a:ln>
            <a:noFill/>
          </a:ln>
        </p:spPr>
        <p:txBody>
          <a:bodyPr wrap="none" rtlCol="0">
            <a:spAutoFit/>
          </a:bodyPr>
          <a:lstStyle/>
          <a:p>
            <a:r>
              <a:rPr lang="en-US" sz="1100" dirty="0" smtClean="0"/>
              <a:t>0.2%</a:t>
            </a:r>
            <a:endParaRPr lang="en-US" sz="1100" dirty="0"/>
          </a:p>
        </p:txBody>
      </p:sp>
      <p:sp>
        <p:nvSpPr>
          <p:cNvPr id="82" name="TextBox 81"/>
          <p:cNvSpPr txBox="1"/>
          <p:nvPr/>
        </p:nvSpPr>
        <p:spPr>
          <a:xfrm>
            <a:off x="6434860" y="3011610"/>
            <a:ext cx="505267" cy="261610"/>
          </a:xfrm>
          <a:prstGeom prst="rect">
            <a:avLst/>
          </a:prstGeom>
          <a:noFill/>
          <a:ln>
            <a:noFill/>
          </a:ln>
        </p:spPr>
        <p:txBody>
          <a:bodyPr wrap="none" rtlCol="0">
            <a:spAutoFit/>
          </a:bodyPr>
          <a:lstStyle/>
          <a:p>
            <a:r>
              <a:rPr lang="en-US" sz="1100" dirty="0" smtClean="0"/>
              <a:t>0.2%</a:t>
            </a:r>
            <a:endParaRPr lang="en-US" sz="1100" dirty="0"/>
          </a:p>
        </p:txBody>
      </p:sp>
      <p:sp>
        <p:nvSpPr>
          <p:cNvPr id="83" name="TextBox 82"/>
          <p:cNvSpPr txBox="1"/>
          <p:nvPr/>
        </p:nvSpPr>
        <p:spPr>
          <a:xfrm>
            <a:off x="6933376" y="3035360"/>
            <a:ext cx="505267" cy="261610"/>
          </a:xfrm>
          <a:prstGeom prst="rect">
            <a:avLst/>
          </a:prstGeom>
          <a:noFill/>
          <a:ln>
            <a:noFill/>
          </a:ln>
        </p:spPr>
        <p:txBody>
          <a:bodyPr wrap="none" rtlCol="0">
            <a:spAutoFit/>
          </a:bodyPr>
          <a:lstStyle/>
          <a:p>
            <a:r>
              <a:rPr lang="en-US" sz="1100" dirty="0" smtClean="0"/>
              <a:t>0.8%</a:t>
            </a:r>
            <a:endParaRPr lang="en-US" sz="1100" dirty="0"/>
          </a:p>
        </p:txBody>
      </p:sp>
      <p:sp>
        <p:nvSpPr>
          <p:cNvPr id="84" name="TextBox 83"/>
          <p:cNvSpPr txBox="1"/>
          <p:nvPr/>
        </p:nvSpPr>
        <p:spPr>
          <a:xfrm>
            <a:off x="3040991" y="3899185"/>
            <a:ext cx="466794" cy="261610"/>
          </a:xfrm>
          <a:prstGeom prst="rect">
            <a:avLst/>
          </a:prstGeom>
          <a:noFill/>
          <a:ln>
            <a:noFill/>
          </a:ln>
        </p:spPr>
        <p:txBody>
          <a:bodyPr wrap="none" rtlCol="0">
            <a:spAutoFit/>
          </a:bodyPr>
          <a:lstStyle/>
          <a:p>
            <a:r>
              <a:rPr lang="en-US" sz="1100" dirty="0" smtClean="0"/>
              <a:t>84%</a:t>
            </a:r>
            <a:endParaRPr lang="en-US" sz="1100" dirty="0"/>
          </a:p>
        </p:txBody>
      </p:sp>
      <p:sp>
        <p:nvSpPr>
          <p:cNvPr id="85" name="TextBox 84"/>
          <p:cNvSpPr txBox="1"/>
          <p:nvPr/>
        </p:nvSpPr>
        <p:spPr>
          <a:xfrm>
            <a:off x="1288391" y="3899185"/>
            <a:ext cx="388248" cy="261610"/>
          </a:xfrm>
          <a:prstGeom prst="rect">
            <a:avLst/>
          </a:prstGeom>
          <a:noFill/>
          <a:ln>
            <a:noFill/>
          </a:ln>
        </p:spPr>
        <p:txBody>
          <a:bodyPr wrap="none" rtlCol="0">
            <a:spAutoFit/>
          </a:bodyPr>
          <a:lstStyle/>
          <a:p>
            <a:r>
              <a:rPr lang="en-US" sz="1100" dirty="0" smtClean="0"/>
              <a:t>8%</a:t>
            </a:r>
            <a:endParaRPr lang="en-US" sz="1100" dirty="0"/>
          </a:p>
        </p:txBody>
      </p:sp>
      <p:sp>
        <p:nvSpPr>
          <p:cNvPr id="86" name="TextBox 85"/>
          <p:cNvSpPr txBox="1"/>
          <p:nvPr/>
        </p:nvSpPr>
        <p:spPr>
          <a:xfrm>
            <a:off x="6746216" y="3899185"/>
            <a:ext cx="388248" cy="261610"/>
          </a:xfrm>
          <a:prstGeom prst="rect">
            <a:avLst/>
          </a:prstGeom>
          <a:noFill/>
          <a:ln>
            <a:noFill/>
          </a:ln>
        </p:spPr>
        <p:txBody>
          <a:bodyPr wrap="none" rtlCol="0">
            <a:spAutoFit/>
          </a:bodyPr>
          <a:lstStyle/>
          <a:p>
            <a:r>
              <a:rPr lang="en-US" sz="1100" dirty="0" smtClean="0"/>
              <a:t>9%</a:t>
            </a:r>
            <a:endParaRPr lang="en-US" sz="1100" dirty="0"/>
          </a:p>
        </p:txBody>
      </p:sp>
      <p:cxnSp>
        <p:nvCxnSpPr>
          <p:cNvPr id="107" name="Straight Connector 106"/>
          <p:cNvCxnSpPr/>
          <p:nvPr/>
        </p:nvCxnSpPr>
        <p:spPr>
          <a:xfrm>
            <a:off x="3705040" y="927384"/>
            <a:ext cx="0" cy="344582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a:stCxn id="64" idx="4"/>
          </p:cNvCxnSpPr>
          <p:nvPr/>
        </p:nvCxnSpPr>
        <p:spPr>
          <a:xfrm flipH="1" flipV="1">
            <a:off x="878816" y="2508535"/>
            <a:ext cx="571500" cy="9526"/>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68" idx="4"/>
          </p:cNvCxnSpPr>
          <p:nvPr/>
        </p:nvCxnSpPr>
        <p:spPr>
          <a:xfrm flipH="1" flipV="1">
            <a:off x="888341" y="4156360"/>
            <a:ext cx="962025" cy="19049"/>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53" name="Flowchart: Process 52"/>
          <p:cNvSpPr/>
          <p:nvPr/>
        </p:nvSpPr>
        <p:spPr>
          <a:xfrm>
            <a:off x="2513841" y="5023808"/>
            <a:ext cx="704850" cy="114300"/>
          </a:xfrm>
          <a:prstGeom prst="flowChartProces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lowchart: Process 55"/>
          <p:cNvSpPr/>
          <p:nvPr/>
        </p:nvSpPr>
        <p:spPr>
          <a:xfrm>
            <a:off x="4196828" y="5049099"/>
            <a:ext cx="704850" cy="114300"/>
          </a:xfrm>
          <a:prstGeom prst="flowChartProcess">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lowchart: Process 56"/>
          <p:cNvSpPr/>
          <p:nvPr/>
        </p:nvSpPr>
        <p:spPr>
          <a:xfrm>
            <a:off x="5853269" y="5022999"/>
            <a:ext cx="704850" cy="114300"/>
          </a:xfrm>
          <a:prstGeom prst="flowChartProcess">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lowchart: Process 57"/>
          <p:cNvSpPr/>
          <p:nvPr/>
        </p:nvSpPr>
        <p:spPr>
          <a:xfrm>
            <a:off x="7456190" y="5033333"/>
            <a:ext cx="704850" cy="114300"/>
          </a:xfrm>
          <a:prstGeom prst="flowChartProcess">
            <a:avLst/>
          </a:prstGeom>
          <a:solidFill>
            <a:srgbClr val="417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p:cNvCxnSpPr/>
          <p:nvPr/>
        </p:nvCxnSpPr>
        <p:spPr>
          <a:xfrm flipH="1" flipV="1">
            <a:off x="696411" y="5074717"/>
            <a:ext cx="971551" cy="9525"/>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89258" y="1394110"/>
            <a:ext cx="718466" cy="338554"/>
          </a:xfrm>
          <a:prstGeom prst="rect">
            <a:avLst/>
          </a:prstGeom>
          <a:noFill/>
        </p:spPr>
        <p:txBody>
          <a:bodyPr wrap="none" rtlCol="0">
            <a:spAutoFit/>
          </a:bodyPr>
          <a:lstStyle/>
          <a:p>
            <a:r>
              <a:rPr lang="en-US" sz="1600" dirty="0" smtClean="0"/>
              <a:t>China</a:t>
            </a:r>
            <a:endParaRPr lang="en-US" sz="1600" dirty="0"/>
          </a:p>
        </p:txBody>
      </p:sp>
      <p:sp>
        <p:nvSpPr>
          <p:cNvPr id="69" name="TextBox 68"/>
          <p:cNvSpPr txBox="1"/>
          <p:nvPr/>
        </p:nvSpPr>
        <p:spPr>
          <a:xfrm>
            <a:off x="256584" y="2232310"/>
            <a:ext cx="628698" cy="338554"/>
          </a:xfrm>
          <a:prstGeom prst="rect">
            <a:avLst/>
          </a:prstGeom>
          <a:noFill/>
        </p:spPr>
        <p:txBody>
          <a:bodyPr wrap="none" rtlCol="0">
            <a:spAutoFit/>
          </a:bodyPr>
          <a:lstStyle/>
          <a:p>
            <a:r>
              <a:rPr lang="en-US" sz="1600" dirty="0" smtClean="0"/>
              <a:t>India</a:t>
            </a:r>
            <a:endParaRPr lang="en-US" sz="1600" dirty="0"/>
          </a:p>
        </p:txBody>
      </p:sp>
      <p:sp>
        <p:nvSpPr>
          <p:cNvPr id="70" name="TextBox 69"/>
          <p:cNvSpPr txBox="1"/>
          <p:nvPr/>
        </p:nvSpPr>
        <p:spPr>
          <a:xfrm>
            <a:off x="293453" y="3041935"/>
            <a:ext cx="582211" cy="338554"/>
          </a:xfrm>
          <a:prstGeom prst="rect">
            <a:avLst/>
          </a:prstGeom>
          <a:noFill/>
        </p:spPr>
        <p:txBody>
          <a:bodyPr wrap="none" rtlCol="0">
            <a:spAutoFit/>
          </a:bodyPr>
          <a:lstStyle/>
          <a:p>
            <a:r>
              <a:rPr lang="en-US" sz="1600" dirty="0" smtClean="0"/>
              <a:t>Asia</a:t>
            </a:r>
            <a:endParaRPr lang="en-US" sz="1600" dirty="0"/>
          </a:p>
        </p:txBody>
      </p:sp>
      <p:sp>
        <p:nvSpPr>
          <p:cNvPr id="91" name="TextBox 90"/>
          <p:cNvSpPr txBox="1"/>
          <p:nvPr/>
        </p:nvSpPr>
        <p:spPr>
          <a:xfrm>
            <a:off x="152813" y="3772309"/>
            <a:ext cx="744113" cy="892552"/>
          </a:xfrm>
          <a:prstGeom prst="rect">
            <a:avLst/>
          </a:prstGeom>
          <a:noFill/>
        </p:spPr>
        <p:txBody>
          <a:bodyPr wrap="none" rtlCol="0">
            <a:spAutoFit/>
          </a:bodyPr>
          <a:lstStyle/>
          <a:p>
            <a:pPr algn="r"/>
            <a:r>
              <a:rPr lang="en-US" dirty="0" smtClean="0"/>
              <a:t>SSA</a:t>
            </a:r>
          </a:p>
          <a:p>
            <a:pPr algn="r"/>
            <a:r>
              <a:rPr lang="en-US" sz="1600" dirty="0" smtClean="0"/>
              <a:t>(Less </a:t>
            </a:r>
          </a:p>
          <a:p>
            <a:pPr algn="r"/>
            <a:r>
              <a:rPr lang="en-US" sz="1600" dirty="0" smtClean="0"/>
              <a:t>RSA)</a:t>
            </a:r>
            <a:endParaRPr lang="en-US" sz="1600" dirty="0"/>
          </a:p>
        </p:txBody>
      </p:sp>
      <p:sp>
        <p:nvSpPr>
          <p:cNvPr id="3" name="TextBox 2"/>
          <p:cNvSpPr txBox="1"/>
          <p:nvPr/>
        </p:nvSpPr>
        <p:spPr>
          <a:xfrm>
            <a:off x="151231" y="661652"/>
            <a:ext cx="3213454" cy="1527796"/>
          </a:xfrm>
          <a:prstGeom prst="rect">
            <a:avLst/>
          </a:prstGeom>
          <a:solidFill>
            <a:schemeClr val="tx2">
              <a:lumMod val="20000"/>
              <a:lumOff val="80000"/>
            </a:schemeClr>
          </a:solidFill>
          <a:ln w="19050">
            <a:solidFill>
              <a:schemeClr val="tx1"/>
            </a:solidFill>
          </a:ln>
        </p:spPr>
        <p:txBody>
          <a:bodyPr wrap="square" lIns="0" tIns="0" rIns="0" bIns="0" rtlCol="0" anchor="ctr">
            <a:noAutofit/>
          </a:bodyPr>
          <a:lstStyle/>
          <a:p>
            <a:pPr algn="ctr"/>
            <a:r>
              <a:rPr lang="en-US" dirty="0" smtClean="0">
                <a:latin typeface="Verdana"/>
                <a:cs typeface="Verdana"/>
              </a:rPr>
              <a:t>Less than 12% of African farmers own 4 wheeled tractors,    </a:t>
            </a:r>
          </a:p>
          <a:p>
            <a:pPr algn="ctr"/>
            <a:r>
              <a:rPr lang="en-US" dirty="0" smtClean="0">
                <a:latin typeface="Verdana"/>
                <a:cs typeface="Verdana"/>
              </a:rPr>
              <a:t>40% of them are also working as contractors</a:t>
            </a:r>
          </a:p>
        </p:txBody>
      </p:sp>
    </p:spTree>
    <p:extLst>
      <p:ext uri="{BB962C8B-B14F-4D97-AF65-F5344CB8AC3E}">
        <p14:creationId xmlns:p14="http://schemas.microsoft.com/office/powerpoint/2010/main" xmlns="" val="3992934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duotone>
              <a:schemeClr val="accent6">
                <a:shade val="45000"/>
                <a:satMod val="135000"/>
              </a:schemeClr>
              <a:prstClr val="white"/>
            </a:duotone>
            <a:extLst>
              <a:ext uri="{28A0092B-C50C-407E-A947-70E740481C1C}">
                <a14:useLocalDpi xmlns:a14="http://schemas.microsoft.com/office/drawing/2010/main" xmlns="" val="0"/>
              </a:ext>
            </a:extLst>
          </a:blip>
          <a:stretch>
            <a:fillRect/>
          </a:stretch>
        </p:blipFill>
        <p:spPr>
          <a:xfrm>
            <a:off x="0" y="1437903"/>
            <a:ext cx="7196696" cy="4797797"/>
          </a:xfrm>
          <a:prstGeom prst="rect">
            <a:avLst/>
          </a:prstGeom>
        </p:spPr>
      </p:pic>
      <p:sp>
        <p:nvSpPr>
          <p:cNvPr id="10" name="Rectangle 9"/>
          <p:cNvSpPr/>
          <p:nvPr/>
        </p:nvSpPr>
        <p:spPr>
          <a:xfrm>
            <a:off x="0" y="1308100"/>
            <a:ext cx="9144000" cy="4927600"/>
          </a:xfrm>
          <a:prstGeom prst="rect">
            <a:avLst/>
          </a:prstGeom>
          <a:gradFill flip="none" rotWithShape="1">
            <a:gsLst>
              <a:gs pos="0">
                <a:schemeClr val="bg1">
                  <a:lumMod val="75000"/>
                </a:schemeClr>
              </a:gs>
              <a:gs pos="67000">
                <a:schemeClr val="bg1">
                  <a:lumMod val="95000"/>
                </a:schemeClr>
              </a:gs>
              <a:gs pos="100000">
                <a:schemeClr val="bg1">
                  <a:lumMod val="95000"/>
                  <a:alpha val="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9" name="Rectangle 8"/>
          <p:cNvSpPr/>
          <p:nvPr/>
        </p:nvSpPr>
        <p:spPr>
          <a:xfrm>
            <a:off x="0" y="0"/>
            <a:ext cx="9144000" cy="153828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idx="4294967295"/>
          </p:nvPr>
        </p:nvSpPr>
        <p:spPr>
          <a:xfrm>
            <a:off x="473075" y="333375"/>
            <a:ext cx="8494712" cy="952500"/>
          </a:xfrm>
        </p:spPr>
        <p:txBody>
          <a:bodyPr/>
          <a:lstStyle/>
          <a:p>
            <a:r>
              <a:rPr lang="en-US" sz="2200" dirty="0" smtClean="0"/>
              <a:t>Improving agricultural output requires the management of these agronomic fundamentals.  </a:t>
            </a:r>
            <a:endParaRPr lang="en-US" sz="2200" dirty="0"/>
          </a:p>
        </p:txBody>
      </p:sp>
      <p:graphicFrame>
        <p:nvGraphicFramePr>
          <p:cNvPr id="5" name="Diagram 2"/>
          <p:cNvGraphicFramePr/>
          <p:nvPr>
            <p:extLst>
              <p:ext uri="{D42A27DB-BD31-4B8C-83A1-F6EECF244321}">
                <p14:modId xmlns:p14="http://schemas.microsoft.com/office/powerpoint/2010/main" xmlns="" val="3181530156"/>
              </p:ext>
            </p:extLst>
          </p:nvPr>
        </p:nvGraphicFramePr>
        <p:xfrm>
          <a:off x="1780918" y="1633724"/>
          <a:ext cx="5998306" cy="42527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7833352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Chart 41"/>
          <p:cNvGraphicFramePr>
            <a:graphicFrameLocks/>
          </p:cNvGraphicFramePr>
          <p:nvPr>
            <p:extLst>
              <p:ext uri="{D42A27DB-BD31-4B8C-83A1-F6EECF244321}">
                <p14:modId xmlns:p14="http://schemas.microsoft.com/office/powerpoint/2010/main" xmlns="" val="13383072"/>
              </p:ext>
            </p:extLst>
          </p:nvPr>
        </p:nvGraphicFramePr>
        <p:xfrm>
          <a:off x="3073498" y="1877459"/>
          <a:ext cx="5844540" cy="405807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200" y="199698"/>
            <a:ext cx="8228013" cy="741140"/>
          </a:xfrm>
        </p:spPr>
        <p:txBody>
          <a:bodyPr/>
          <a:lstStyle/>
          <a:p>
            <a:pPr>
              <a:lnSpc>
                <a:spcPct val="100000"/>
              </a:lnSpc>
            </a:pPr>
            <a:r>
              <a:rPr lang="en-US" sz="2400" dirty="0" smtClean="0"/>
              <a:t>Low natural soil fertility levels impact on yield is compounded by annual mining of soil N-P-K.  </a:t>
            </a:r>
            <a:r>
              <a:rPr lang="en-US" sz="2000" dirty="0" smtClean="0"/>
              <a:t/>
            </a:r>
            <a:br>
              <a:rPr lang="en-US" sz="2000" dirty="0" smtClean="0"/>
            </a:br>
            <a:r>
              <a:rPr lang="en-US" sz="1800" dirty="0" smtClean="0"/>
              <a:t>On average, 13 </a:t>
            </a:r>
            <a:r>
              <a:rPr lang="en-US" sz="1800" dirty="0"/>
              <a:t>kg/ha of </a:t>
            </a:r>
            <a:r>
              <a:rPr lang="en-US" sz="1800" dirty="0" smtClean="0"/>
              <a:t>nutrients are applied compared to 38kg/ha of nutrients removed through the harvesting of grain.</a:t>
            </a:r>
            <a:endParaRPr lang="en-US" sz="1800" dirty="0"/>
          </a:p>
        </p:txBody>
      </p:sp>
      <p:sp>
        <p:nvSpPr>
          <p:cNvPr id="41" name="TextBox 40"/>
          <p:cNvSpPr txBox="1"/>
          <p:nvPr/>
        </p:nvSpPr>
        <p:spPr>
          <a:xfrm>
            <a:off x="4405999" y="1668931"/>
            <a:ext cx="4595682" cy="338554"/>
          </a:xfrm>
          <a:prstGeom prst="rect">
            <a:avLst/>
          </a:prstGeom>
          <a:noFill/>
        </p:spPr>
        <p:txBody>
          <a:bodyPr wrap="none" rtlCol="0">
            <a:spAutoFit/>
          </a:bodyPr>
          <a:lstStyle/>
          <a:p>
            <a:r>
              <a:rPr lang="en-US" sz="1600" b="1" dirty="0" smtClean="0"/>
              <a:t>Total Fertilizer Applied kg/ha (N + P</a:t>
            </a:r>
            <a:r>
              <a:rPr lang="en-US" sz="1600" b="1" baseline="-25000" dirty="0" smtClean="0"/>
              <a:t>2</a:t>
            </a:r>
            <a:r>
              <a:rPr lang="en-US" sz="1600" b="1" dirty="0" smtClean="0"/>
              <a:t>O</a:t>
            </a:r>
            <a:r>
              <a:rPr lang="en-US" sz="1600" b="1" baseline="-25000" dirty="0" smtClean="0"/>
              <a:t>5 </a:t>
            </a:r>
            <a:r>
              <a:rPr lang="en-US" sz="1600" b="1" dirty="0" smtClean="0"/>
              <a:t>+ K</a:t>
            </a:r>
            <a:r>
              <a:rPr lang="en-US" sz="1600" b="1" baseline="-25000" dirty="0" smtClean="0"/>
              <a:t>2</a:t>
            </a:r>
            <a:r>
              <a:rPr lang="en-US" sz="1600" b="1" dirty="0" smtClean="0"/>
              <a:t>O)</a:t>
            </a:r>
            <a:endParaRPr lang="en-US" sz="1600" b="1" baseline="-25000" dirty="0"/>
          </a:p>
        </p:txBody>
      </p:sp>
      <p:sp>
        <p:nvSpPr>
          <p:cNvPr id="43" name="TextBox 42"/>
          <p:cNvSpPr txBox="1"/>
          <p:nvPr/>
        </p:nvSpPr>
        <p:spPr>
          <a:xfrm>
            <a:off x="378070" y="5850825"/>
            <a:ext cx="3968133" cy="507831"/>
          </a:xfrm>
          <a:prstGeom prst="rect">
            <a:avLst/>
          </a:prstGeom>
          <a:noFill/>
        </p:spPr>
        <p:txBody>
          <a:bodyPr wrap="square" rtlCol="0">
            <a:spAutoFit/>
          </a:bodyPr>
          <a:lstStyle/>
          <a:p>
            <a:r>
              <a:rPr lang="en-US" sz="900" dirty="0" smtClean="0">
                <a:latin typeface="+mj-lt"/>
              </a:rPr>
              <a:t>* Maize Grain and Biomass only</a:t>
            </a:r>
          </a:p>
          <a:p>
            <a:r>
              <a:rPr lang="en-US" sz="900" dirty="0" smtClean="0">
                <a:latin typeface="+mj-lt"/>
              </a:rPr>
              <a:t>Source</a:t>
            </a:r>
            <a:r>
              <a:rPr lang="en-US" sz="900" dirty="0">
                <a:latin typeface="+mj-lt"/>
              </a:rPr>
              <a:t>:  </a:t>
            </a:r>
            <a:r>
              <a:rPr lang="en-US" sz="900" dirty="0" smtClean="0">
                <a:latin typeface="+mj-lt"/>
              </a:rPr>
              <a:t>World Bank</a:t>
            </a:r>
            <a:endParaRPr lang="en-US" sz="900" dirty="0">
              <a:latin typeface="+mj-lt"/>
            </a:endParaRPr>
          </a:p>
          <a:p>
            <a:endParaRPr lang="en-US" sz="900" dirty="0">
              <a:latin typeface="+mj-lt"/>
            </a:endParaRPr>
          </a:p>
        </p:txBody>
      </p:sp>
      <p:graphicFrame>
        <p:nvGraphicFramePr>
          <p:cNvPr id="13" name="Diagram 12"/>
          <p:cNvGraphicFramePr/>
          <p:nvPr>
            <p:extLst>
              <p:ext uri="{D42A27DB-BD31-4B8C-83A1-F6EECF244321}">
                <p14:modId xmlns:p14="http://schemas.microsoft.com/office/powerpoint/2010/main" xmlns="" val="2453056240"/>
              </p:ext>
            </p:extLst>
          </p:nvPr>
        </p:nvGraphicFramePr>
        <p:xfrm>
          <a:off x="129776" y="2251387"/>
          <a:ext cx="3579779" cy="27789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2" descr="http://www.swac.umn.edu/classes/soil4505/img/afsomap.jpg"/>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t="24911"/>
          <a:stretch/>
        </p:blipFill>
        <p:spPr bwMode="auto">
          <a:xfrm>
            <a:off x="3888843" y="1668930"/>
            <a:ext cx="4762785" cy="4181895"/>
          </a:xfrm>
          <a:prstGeom prst="rect">
            <a:avLst/>
          </a:prstGeom>
          <a:noFill/>
          <a:ln>
            <a:solidFill>
              <a:schemeClr val="tx1"/>
            </a:solidFill>
          </a:ln>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4405999" y="2823587"/>
            <a:ext cx="1200981" cy="26125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4069583" y="3430027"/>
            <a:ext cx="1447893" cy="807492"/>
            <a:chOff x="2522137" y="4394669"/>
            <a:chExt cx="1447893" cy="807492"/>
          </a:xfrm>
        </p:grpSpPr>
        <p:sp>
          <p:nvSpPr>
            <p:cNvPr id="5" name="Rectangle 4"/>
            <p:cNvSpPr/>
            <p:nvPr/>
          </p:nvSpPr>
          <p:spPr>
            <a:xfrm>
              <a:off x="2532185" y="4438022"/>
              <a:ext cx="663192" cy="211016"/>
            </a:xfrm>
            <a:prstGeom prst="rect">
              <a:avLst/>
            </a:prstGeom>
            <a:solidFill>
              <a:srgbClr val="8AF3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3195381" y="4394669"/>
              <a:ext cx="753732" cy="307777"/>
            </a:xfrm>
            <a:prstGeom prst="rect">
              <a:avLst/>
            </a:prstGeom>
            <a:noFill/>
          </p:spPr>
          <p:txBody>
            <a:bodyPr wrap="none" rtlCol="0">
              <a:spAutoFit/>
            </a:bodyPr>
            <a:lstStyle/>
            <a:p>
              <a:r>
                <a:rPr lang="en-US" sz="1400" dirty="0" err="1" smtClean="0"/>
                <a:t>Alfisols</a:t>
              </a:r>
              <a:endParaRPr lang="en-US" sz="1400" dirty="0"/>
            </a:p>
          </p:txBody>
        </p:sp>
        <p:sp>
          <p:nvSpPr>
            <p:cNvPr id="16" name="TextBox 15"/>
            <p:cNvSpPr txBox="1"/>
            <p:nvPr/>
          </p:nvSpPr>
          <p:spPr>
            <a:xfrm>
              <a:off x="3197061" y="4627453"/>
              <a:ext cx="772969" cy="307777"/>
            </a:xfrm>
            <a:prstGeom prst="rect">
              <a:avLst/>
            </a:prstGeom>
            <a:noFill/>
          </p:spPr>
          <p:txBody>
            <a:bodyPr wrap="none" rtlCol="0">
              <a:spAutoFit/>
            </a:bodyPr>
            <a:lstStyle/>
            <a:p>
              <a:r>
                <a:rPr lang="en-US" sz="1400" dirty="0" err="1" smtClean="0"/>
                <a:t>Oxisols</a:t>
              </a:r>
              <a:endParaRPr lang="en-US" sz="1400" dirty="0"/>
            </a:p>
          </p:txBody>
        </p:sp>
        <p:sp>
          <p:nvSpPr>
            <p:cNvPr id="17" name="TextBox 16"/>
            <p:cNvSpPr txBox="1"/>
            <p:nvPr/>
          </p:nvSpPr>
          <p:spPr>
            <a:xfrm>
              <a:off x="3197061" y="4894384"/>
              <a:ext cx="763351" cy="307777"/>
            </a:xfrm>
            <a:prstGeom prst="rect">
              <a:avLst/>
            </a:prstGeom>
            <a:noFill/>
          </p:spPr>
          <p:txBody>
            <a:bodyPr wrap="none" rtlCol="0">
              <a:spAutoFit/>
            </a:bodyPr>
            <a:lstStyle/>
            <a:p>
              <a:r>
                <a:rPr lang="en-US" sz="1400" dirty="0" err="1" smtClean="0"/>
                <a:t>Ultisols</a:t>
              </a:r>
              <a:endParaRPr lang="en-US" sz="1400" dirty="0"/>
            </a:p>
          </p:txBody>
        </p:sp>
        <p:sp>
          <p:nvSpPr>
            <p:cNvPr id="18" name="Rectangle 17"/>
            <p:cNvSpPr/>
            <p:nvPr/>
          </p:nvSpPr>
          <p:spPr>
            <a:xfrm>
              <a:off x="2525485" y="4950953"/>
              <a:ext cx="663192" cy="211016"/>
            </a:xfrm>
            <a:prstGeom prst="rect">
              <a:avLst/>
            </a:prstGeom>
            <a:solidFill>
              <a:srgbClr val="EFCE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2522137" y="4684022"/>
              <a:ext cx="663192" cy="2110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xmlns="" val="1248749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10" presetClass="exit" presetSubtype="0" fill="hold" grpId="0" nodeType="withEffect">
                                  <p:stCondLst>
                                    <p:cond delay="0"/>
                                  </p:stCondLst>
                                  <p:childTnLst>
                                    <p:animEffect transition="out" filter="fade">
                                      <p:cBhvr>
                                        <p:cTn id="18" dur="500"/>
                                        <p:tgtEl>
                                          <p:spTgt spid="7"/>
                                        </p:tgtEl>
                                      </p:cBhvr>
                                    </p:animEffect>
                                    <p:set>
                                      <p:cBhvr>
                                        <p:cTn id="19" dur="1" fill="hold">
                                          <p:stCondLst>
                                            <p:cond delay="499"/>
                                          </p:stCondLst>
                                        </p:cTn>
                                        <p:tgtEl>
                                          <p:spTgt spid="7"/>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500"/>
                                        <p:tgtEl>
                                          <p:spTgt spid="9"/>
                                        </p:tgtEl>
                                      </p:cBhvr>
                                    </p:animEffect>
                                    <p:set>
                                      <p:cBhvr>
                                        <p:cTn id="22"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2" grpId="0">
        <p:bldAsOne/>
      </p:bldGraphic>
      <p:bldP spid="41" grpId="0"/>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778829" y="3124200"/>
            <a:ext cx="4365171" cy="309154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5" name="Rectangle 4"/>
          <p:cNvSpPr/>
          <p:nvPr/>
        </p:nvSpPr>
        <p:spPr>
          <a:xfrm>
            <a:off x="4778828" y="1012371"/>
            <a:ext cx="4365171" cy="21336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sz="2000" kern="1200" dirty="0" smtClean="0"/>
              <a:t>Mechanization for the placement of fertilizer is critical to making more nutrients available to the crop, especially in tropical soils.</a:t>
            </a:r>
            <a:endParaRPr lang="en-US" sz="2000" dirty="0"/>
          </a:p>
        </p:txBody>
      </p:sp>
      <p:sp>
        <p:nvSpPr>
          <p:cNvPr id="3" name="Rectangle 2"/>
          <p:cNvSpPr/>
          <p:nvPr/>
        </p:nvSpPr>
        <p:spPr>
          <a:xfrm>
            <a:off x="6460435" y="5615609"/>
            <a:ext cx="2445026" cy="3478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759532" y="3305026"/>
            <a:ext cx="2932032" cy="2865143"/>
          </a:xfrm>
          <a:prstGeom prst="rect">
            <a:avLst/>
          </a:prstGeom>
        </p:spPr>
      </p:pic>
      <p:sp>
        <p:nvSpPr>
          <p:cNvPr id="18" name="TextBox 17"/>
          <p:cNvSpPr txBox="1"/>
          <p:nvPr/>
        </p:nvSpPr>
        <p:spPr>
          <a:xfrm>
            <a:off x="4857008" y="3329811"/>
            <a:ext cx="1389413" cy="523220"/>
          </a:xfrm>
          <a:prstGeom prst="rect">
            <a:avLst/>
          </a:prstGeom>
          <a:noFill/>
        </p:spPr>
        <p:txBody>
          <a:bodyPr wrap="square" rtlCol="0">
            <a:spAutoFit/>
          </a:bodyPr>
          <a:lstStyle/>
          <a:p>
            <a:r>
              <a:rPr lang="en-US" sz="1400" dirty="0" smtClean="0"/>
              <a:t>Banded Fertilizer</a:t>
            </a:r>
            <a:endParaRPr lang="en-US" sz="1400" dirty="0"/>
          </a:p>
        </p:txBody>
      </p:sp>
      <p:sp>
        <p:nvSpPr>
          <p:cNvPr id="19" name="TextBox 18"/>
          <p:cNvSpPr txBox="1"/>
          <p:nvPr/>
        </p:nvSpPr>
        <p:spPr>
          <a:xfrm>
            <a:off x="4792063" y="1096963"/>
            <a:ext cx="1466233" cy="523220"/>
          </a:xfrm>
          <a:prstGeom prst="rect">
            <a:avLst/>
          </a:prstGeom>
          <a:noFill/>
        </p:spPr>
        <p:txBody>
          <a:bodyPr wrap="square" rtlCol="0">
            <a:spAutoFit/>
          </a:bodyPr>
          <a:lstStyle/>
          <a:p>
            <a:r>
              <a:rPr lang="en-US" sz="1400" dirty="0" smtClean="0"/>
              <a:t>Broadcast Fertilizer</a:t>
            </a:r>
            <a:endParaRPr lang="en-US" sz="1400" dirty="0"/>
          </a:p>
        </p:txBody>
      </p:sp>
      <p:graphicFrame>
        <p:nvGraphicFramePr>
          <p:cNvPr id="13" name="Diagram 12"/>
          <p:cNvGraphicFramePr/>
          <p:nvPr>
            <p:extLst>
              <p:ext uri="{D42A27DB-BD31-4B8C-83A1-F6EECF244321}">
                <p14:modId xmlns:p14="http://schemas.microsoft.com/office/powerpoint/2010/main" xmlns="" val="806991063"/>
              </p:ext>
            </p:extLst>
          </p:nvPr>
        </p:nvGraphicFramePr>
        <p:xfrm>
          <a:off x="158598" y="2097432"/>
          <a:ext cx="3579779" cy="27789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18491067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7656"/>
            <a:ext cx="8228013" cy="783182"/>
          </a:xfrm>
        </p:spPr>
        <p:txBody>
          <a:bodyPr/>
          <a:lstStyle/>
          <a:p>
            <a:r>
              <a:rPr lang="en-US" sz="2400" dirty="0"/>
              <a:t>Timing of planting </a:t>
            </a:r>
            <a:r>
              <a:rPr lang="en-US" sz="2400" dirty="0" smtClean="0"/>
              <a:t>to </a:t>
            </a:r>
            <a:r>
              <a:rPr lang="en-US" sz="2400" dirty="0"/>
              <a:t>capture early season </a:t>
            </a:r>
            <a:r>
              <a:rPr lang="en-US" sz="2400" dirty="0" smtClean="0"/>
              <a:t>rains can have a significant impact on yield.   </a:t>
            </a:r>
            <a:r>
              <a:rPr lang="en-US" sz="1800" dirty="0" smtClean="0"/>
              <a:t/>
            </a:r>
            <a:br>
              <a:rPr lang="en-US" sz="1800" dirty="0" smtClean="0"/>
            </a:br>
            <a:r>
              <a:rPr lang="en-US" sz="1800" dirty="0" smtClean="0"/>
              <a:t>Timing </a:t>
            </a:r>
            <a:r>
              <a:rPr lang="en-US" sz="1800" dirty="0"/>
              <a:t>can be optimized with mechanization compared to hand </a:t>
            </a:r>
            <a:r>
              <a:rPr lang="en-US" sz="1800" dirty="0" smtClean="0"/>
              <a:t>planting, </a:t>
            </a:r>
            <a:r>
              <a:rPr lang="en-US" sz="1800" dirty="0"/>
              <a:t>which is limited to after the rains have started due to hard ground conditions.  </a:t>
            </a:r>
          </a:p>
        </p:txBody>
      </p:sp>
      <p:graphicFrame>
        <p:nvGraphicFramePr>
          <p:cNvPr id="14" name="Chart 13"/>
          <p:cNvGraphicFramePr>
            <a:graphicFrameLocks noGrp="1"/>
          </p:cNvGraphicFramePr>
          <p:nvPr>
            <p:extLst>
              <p:ext uri="{D42A27DB-BD31-4B8C-83A1-F6EECF244321}">
                <p14:modId xmlns:p14="http://schemas.microsoft.com/office/powerpoint/2010/main" xmlns="" val="3901486442"/>
              </p:ext>
            </p:extLst>
          </p:nvPr>
        </p:nvGraphicFramePr>
        <p:xfrm>
          <a:off x="5121383" y="2121217"/>
          <a:ext cx="3388092" cy="2494269"/>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6192283" y="2113987"/>
            <a:ext cx="1478290" cy="307777"/>
          </a:xfrm>
          <a:prstGeom prst="rect">
            <a:avLst/>
          </a:prstGeom>
          <a:noFill/>
        </p:spPr>
        <p:txBody>
          <a:bodyPr wrap="none" rtlCol="0">
            <a:spAutoFit/>
          </a:bodyPr>
          <a:lstStyle/>
          <a:p>
            <a:r>
              <a:rPr lang="en-US" sz="1400" b="1" dirty="0" smtClean="0"/>
              <a:t>Central Zambia</a:t>
            </a:r>
            <a:endParaRPr lang="en-US" sz="1400" b="1" dirty="0"/>
          </a:p>
        </p:txBody>
      </p:sp>
      <p:sp>
        <p:nvSpPr>
          <p:cNvPr id="16" name="Left Brace 15"/>
          <p:cNvSpPr/>
          <p:nvPr/>
        </p:nvSpPr>
        <p:spPr>
          <a:xfrm rot="16200000">
            <a:off x="7970463" y="4658799"/>
            <a:ext cx="370572" cy="380198"/>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7" name="Group 16"/>
          <p:cNvGrpSpPr/>
          <p:nvPr/>
        </p:nvGrpSpPr>
        <p:grpSpPr>
          <a:xfrm>
            <a:off x="3552000" y="1946589"/>
            <a:ext cx="1560658" cy="602537"/>
            <a:chOff x="836997" y="1692007"/>
            <a:chExt cx="1560658" cy="602537"/>
          </a:xfrm>
        </p:grpSpPr>
        <p:cxnSp>
          <p:nvCxnSpPr>
            <p:cNvPr id="18" name="Straight Connector 17"/>
            <p:cNvCxnSpPr/>
            <p:nvPr/>
          </p:nvCxnSpPr>
          <p:spPr>
            <a:xfrm>
              <a:off x="838200" y="1817132"/>
              <a:ext cx="30720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38200" y="1985136"/>
              <a:ext cx="307206" cy="0"/>
            </a:xfrm>
            <a:prstGeom prst="line">
              <a:avLst/>
            </a:prstGeom>
            <a:ln w="28575">
              <a:solidFill>
                <a:srgbClr val="2415E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36997" y="2142787"/>
              <a:ext cx="307206"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126160" y="1692007"/>
              <a:ext cx="1069524" cy="430887"/>
            </a:xfrm>
            <a:prstGeom prst="rect">
              <a:avLst/>
            </a:prstGeom>
            <a:noFill/>
          </p:spPr>
          <p:txBody>
            <a:bodyPr wrap="none" rtlCol="0">
              <a:spAutoFit/>
            </a:bodyPr>
            <a:lstStyle/>
            <a:p>
              <a:r>
                <a:rPr lang="en-US" sz="1100" dirty="0" smtClean="0"/>
                <a:t>High Temp </a:t>
              </a:r>
              <a:r>
                <a:rPr lang="en-US" sz="1100" baseline="30000" dirty="0" err="1"/>
                <a:t>o</a:t>
              </a:r>
              <a:r>
                <a:rPr lang="en-US" sz="1100" dirty="0" err="1"/>
                <a:t>C</a:t>
              </a:r>
              <a:endParaRPr lang="en-US" sz="1100" dirty="0"/>
            </a:p>
            <a:p>
              <a:endParaRPr lang="en-US" sz="1100" dirty="0"/>
            </a:p>
          </p:txBody>
        </p:sp>
        <p:sp>
          <p:nvSpPr>
            <p:cNvPr id="22" name="TextBox 21"/>
            <p:cNvSpPr txBox="1"/>
            <p:nvPr/>
          </p:nvSpPr>
          <p:spPr>
            <a:xfrm>
              <a:off x="1124560" y="1863657"/>
              <a:ext cx="1037463" cy="430887"/>
            </a:xfrm>
            <a:prstGeom prst="rect">
              <a:avLst/>
            </a:prstGeom>
            <a:noFill/>
          </p:spPr>
          <p:txBody>
            <a:bodyPr wrap="none" rtlCol="0">
              <a:spAutoFit/>
            </a:bodyPr>
            <a:lstStyle/>
            <a:p>
              <a:r>
                <a:rPr lang="en-US" sz="1100" dirty="0" smtClean="0"/>
                <a:t>Low Temp </a:t>
              </a:r>
              <a:r>
                <a:rPr lang="en-US" sz="1100" baseline="30000" dirty="0" err="1"/>
                <a:t>o</a:t>
              </a:r>
              <a:r>
                <a:rPr lang="en-US" sz="1100" dirty="0" err="1"/>
                <a:t>C</a:t>
              </a:r>
              <a:endParaRPr lang="en-US" sz="1100" dirty="0"/>
            </a:p>
            <a:p>
              <a:endParaRPr lang="en-US" sz="1100" dirty="0"/>
            </a:p>
          </p:txBody>
        </p:sp>
        <p:sp>
          <p:nvSpPr>
            <p:cNvPr id="23" name="TextBox 22"/>
            <p:cNvSpPr txBox="1"/>
            <p:nvPr/>
          </p:nvSpPr>
          <p:spPr>
            <a:xfrm>
              <a:off x="1116535" y="2028882"/>
              <a:ext cx="1281120" cy="261610"/>
            </a:xfrm>
            <a:prstGeom prst="rect">
              <a:avLst/>
            </a:prstGeom>
            <a:noFill/>
          </p:spPr>
          <p:txBody>
            <a:bodyPr wrap="none" rtlCol="0">
              <a:spAutoFit/>
            </a:bodyPr>
            <a:lstStyle/>
            <a:p>
              <a:r>
                <a:rPr lang="en-US" sz="1100" dirty="0" smtClean="0"/>
                <a:t>Precipitation (cm)</a:t>
              </a:r>
              <a:endParaRPr lang="en-US" sz="1100" dirty="0"/>
            </a:p>
          </p:txBody>
        </p:sp>
      </p:grpSp>
      <p:sp>
        <p:nvSpPr>
          <p:cNvPr id="24" name="TextBox 23"/>
          <p:cNvSpPr txBox="1"/>
          <p:nvPr/>
        </p:nvSpPr>
        <p:spPr>
          <a:xfrm>
            <a:off x="7335689" y="5056519"/>
            <a:ext cx="1789801" cy="923330"/>
          </a:xfrm>
          <a:prstGeom prst="rect">
            <a:avLst/>
          </a:prstGeom>
          <a:noFill/>
        </p:spPr>
        <p:txBody>
          <a:bodyPr wrap="square" rtlCol="0">
            <a:spAutoFit/>
          </a:bodyPr>
          <a:lstStyle/>
          <a:p>
            <a:pPr algn="ctr"/>
            <a:r>
              <a:rPr lang="en-US" dirty="0" smtClean="0"/>
              <a:t>Current planting window</a:t>
            </a:r>
            <a:endParaRPr lang="en-US" dirty="0"/>
          </a:p>
        </p:txBody>
      </p:sp>
      <p:pic>
        <p:nvPicPr>
          <p:cNvPr id="25" name="Picture 2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471233" y="4234013"/>
            <a:ext cx="2735218" cy="1814362"/>
          </a:xfrm>
          <a:prstGeom prst="rect">
            <a:avLst/>
          </a:prstGeom>
        </p:spPr>
      </p:pic>
      <p:sp>
        <p:nvSpPr>
          <p:cNvPr id="27" name="Left Brace 26"/>
          <p:cNvSpPr/>
          <p:nvPr/>
        </p:nvSpPr>
        <p:spPr>
          <a:xfrm rot="16200000">
            <a:off x="7688922" y="4724295"/>
            <a:ext cx="370572" cy="271007"/>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TextBox 27"/>
          <p:cNvSpPr txBox="1"/>
          <p:nvPr/>
        </p:nvSpPr>
        <p:spPr>
          <a:xfrm>
            <a:off x="6988932" y="5056519"/>
            <a:ext cx="1789801" cy="646331"/>
          </a:xfrm>
          <a:prstGeom prst="rect">
            <a:avLst/>
          </a:prstGeom>
          <a:noFill/>
        </p:spPr>
        <p:txBody>
          <a:bodyPr wrap="square" rtlCol="0">
            <a:spAutoFit/>
          </a:bodyPr>
          <a:lstStyle/>
          <a:p>
            <a:pPr algn="ctr"/>
            <a:r>
              <a:rPr lang="en-US" dirty="0" smtClean="0"/>
              <a:t>Ideal planting window</a:t>
            </a:r>
            <a:endParaRPr lang="en-US" dirty="0"/>
          </a:p>
        </p:txBody>
      </p:sp>
      <p:graphicFrame>
        <p:nvGraphicFramePr>
          <p:cNvPr id="29" name="Diagram 28"/>
          <p:cNvGraphicFramePr/>
          <p:nvPr>
            <p:extLst>
              <p:ext uri="{D42A27DB-BD31-4B8C-83A1-F6EECF244321}">
                <p14:modId xmlns:p14="http://schemas.microsoft.com/office/powerpoint/2010/main" xmlns="" val="3828272589"/>
              </p:ext>
            </p:extLst>
          </p:nvPr>
        </p:nvGraphicFramePr>
        <p:xfrm>
          <a:off x="125824" y="1929272"/>
          <a:ext cx="3579779" cy="27789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3896195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30" presetClass="emph" presetSubtype="0" fill="hold" grpId="0" nodeType="withEffect">
                                  <p:stCondLst>
                                    <p:cond delay="0"/>
                                  </p:stCondLst>
                                  <p:childTnLst>
                                    <p:animClr clrSpc="hsl" dir="cw">
                                      <p:cBhvr override="childStyle">
                                        <p:cTn id="9" dur="500" fill="hold"/>
                                        <p:tgtEl>
                                          <p:spTgt spid="16"/>
                                        </p:tgtEl>
                                        <p:attrNameLst>
                                          <p:attrName>style.color</p:attrName>
                                        </p:attrNameLst>
                                      </p:cBhvr>
                                      <p:by>
                                        <p:hsl h="0" s="12549" l="25098"/>
                                      </p:by>
                                    </p:animClr>
                                    <p:animClr clrSpc="hsl" dir="cw">
                                      <p:cBhvr>
                                        <p:cTn id="10" dur="500" fill="hold"/>
                                        <p:tgtEl>
                                          <p:spTgt spid="16"/>
                                        </p:tgtEl>
                                        <p:attrNameLst>
                                          <p:attrName>fillcolor</p:attrName>
                                        </p:attrNameLst>
                                      </p:cBhvr>
                                      <p:by>
                                        <p:hsl h="0" s="12549" l="25098"/>
                                      </p:by>
                                    </p:animClr>
                                    <p:animClr clrSpc="hsl" dir="cw">
                                      <p:cBhvr>
                                        <p:cTn id="11" dur="500" fill="hold"/>
                                        <p:tgtEl>
                                          <p:spTgt spid="16"/>
                                        </p:tgtEl>
                                        <p:attrNameLst>
                                          <p:attrName>stroke.color</p:attrName>
                                        </p:attrNameLst>
                                      </p:cBhvr>
                                      <p:by>
                                        <p:hsl h="0" s="12549" l="25098"/>
                                      </p:by>
                                    </p:animClr>
                                    <p:set>
                                      <p:cBhvr>
                                        <p:cTn id="12" dur="500" fill="hold"/>
                                        <p:tgtEl>
                                          <p:spTgt spid="16"/>
                                        </p:tgtEl>
                                        <p:attrNameLst>
                                          <p:attrName>fill.type</p:attrName>
                                        </p:attrNameLst>
                                      </p:cBhvr>
                                      <p:to>
                                        <p:strVal val="solid"/>
                                      </p:to>
                                    </p:set>
                                  </p:childTnLst>
                                </p:cTn>
                              </p:par>
                              <p:par>
                                <p:cTn id="13" presetID="10"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10" presetClass="exit" presetSubtype="0" fill="hold" nodeType="withEffect">
                                  <p:stCondLst>
                                    <p:cond delay="0"/>
                                  </p:stCondLst>
                                  <p:childTnLst>
                                    <p:animEffect transition="out" filter="fade">
                                      <p:cBhvr>
                                        <p:cTn id="20" dur="500"/>
                                        <p:tgtEl>
                                          <p:spTgt spid="25"/>
                                        </p:tgtEl>
                                      </p:cBhvr>
                                    </p:animEffect>
                                    <p:set>
                                      <p:cBhvr>
                                        <p:cTn id="21" dur="1" fill="hold">
                                          <p:stCondLst>
                                            <p:cond delay="4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4" grpId="0"/>
      <p:bldP spid="27" grpId="0" animBg="1"/>
      <p:bldP spid="2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1" y="669073"/>
            <a:ext cx="9144000" cy="5531005"/>
          </a:xfrm>
          <a:prstGeom prst="rect">
            <a:avLst/>
          </a:prstGeom>
          <a:gradFill flip="none" rotWithShape="1">
            <a:gsLst>
              <a:gs pos="0">
                <a:schemeClr val="bg1">
                  <a:lumMod val="85000"/>
                </a:schemeClr>
              </a:gs>
              <a:gs pos="50000">
                <a:schemeClr val="bg1"/>
              </a:gs>
              <a:gs pos="100000">
                <a:schemeClr val="accent1">
                  <a:tint val="23500"/>
                  <a:satMod val="160000"/>
                  <a:alpha val="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cxnSp>
        <p:nvCxnSpPr>
          <p:cNvPr id="18" name="Straight Arrow Connector 17"/>
          <p:cNvCxnSpPr/>
          <p:nvPr/>
        </p:nvCxnSpPr>
        <p:spPr>
          <a:xfrm>
            <a:off x="4995746" y="3100039"/>
            <a:ext cx="880946" cy="1427356"/>
          </a:xfrm>
          <a:prstGeom prst="straightConnector1">
            <a:avLst/>
          </a:prstGeom>
          <a:ln w="57150">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smtClean="0"/>
              <a:t>Open-Pollinated Variety conversion to Hybrid seeds </a:t>
            </a:r>
            <a:endParaRPr lang="en-US" dirty="0"/>
          </a:p>
        </p:txBody>
      </p:sp>
      <p:graphicFrame>
        <p:nvGraphicFramePr>
          <p:cNvPr id="3" name="Diagram 2"/>
          <p:cNvGraphicFramePr/>
          <p:nvPr>
            <p:extLst>
              <p:ext uri="{D42A27DB-BD31-4B8C-83A1-F6EECF244321}">
                <p14:modId xmlns:p14="http://schemas.microsoft.com/office/powerpoint/2010/main" xmlns="" val="36061900"/>
              </p:ext>
            </p:extLst>
          </p:nvPr>
        </p:nvGraphicFramePr>
        <p:xfrm>
          <a:off x="64008" y="1719072"/>
          <a:ext cx="3579779" cy="27789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5271686" y="805273"/>
            <a:ext cx="1841194" cy="868878"/>
          </a:xfrm>
          <a:prstGeom prst="rect">
            <a:avLst/>
          </a:prstGeom>
        </p:spPr>
      </p:pic>
      <p:sp>
        <p:nvSpPr>
          <p:cNvPr id="6" name="TextBox 5"/>
          <p:cNvSpPr txBox="1"/>
          <p:nvPr/>
        </p:nvSpPr>
        <p:spPr>
          <a:xfrm>
            <a:off x="4416456" y="2893556"/>
            <a:ext cx="977453" cy="299189"/>
          </a:xfrm>
          <a:prstGeom prst="rect">
            <a:avLst/>
          </a:prstGeom>
          <a:solidFill>
            <a:schemeClr val="bg2">
              <a:lumMod val="60000"/>
              <a:lumOff val="40000"/>
            </a:schemeClr>
          </a:solidFill>
          <a:effectLst>
            <a:outerShdw blurRad="50800" dist="38100" dir="2700000" algn="tl" rotWithShape="0">
              <a:prstClr val="black">
                <a:alpha val="40000"/>
              </a:prstClr>
            </a:outerShdw>
          </a:effectLst>
        </p:spPr>
        <p:txBody>
          <a:bodyPr wrap="square" lIns="0" tIns="0" rIns="0" bIns="0" rtlCol="0" anchor="ctr" anchorCtr="0">
            <a:noAutofit/>
          </a:bodyPr>
          <a:lstStyle/>
          <a:p>
            <a:pPr algn="ctr"/>
            <a:r>
              <a:rPr lang="en-US" sz="1400" dirty="0" smtClean="0">
                <a:latin typeface="Verdana"/>
                <a:cs typeface="Verdana"/>
              </a:rPr>
              <a:t>Retailer</a:t>
            </a:r>
          </a:p>
        </p:txBody>
      </p:sp>
      <p:sp>
        <p:nvSpPr>
          <p:cNvPr id="7" name="TextBox 6"/>
          <p:cNvSpPr txBox="1"/>
          <p:nvPr/>
        </p:nvSpPr>
        <p:spPr>
          <a:xfrm>
            <a:off x="6484814" y="2860525"/>
            <a:ext cx="1732167" cy="507400"/>
          </a:xfrm>
          <a:prstGeom prst="rect">
            <a:avLst/>
          </a:prstGeom>
          <a:noFill/>
        </p:spPr>
        <p:txBody>
          <a:bodyPr wrap="square" lIns="0" tIns="0" rIns="0" bIns="0" rtlCol="0">
            <a:noAutofit/>
          </a:bodyPr>
          <a:lstStyle/>
          <a:p>
            <a:r>
              <a:rPr lang="en-US" sz="1400" dirty="0" smtClean="0">
                <a:latin typeface="Verdana"/>
                <a:cs typeface="Verdana"/>
              </a:rPr>
              <a:t>Pioneer Extension Partners</a:t>
            </a:r>
          </a:p>
        </p:txBody>
      </p:sp>
      <p:sp>
        <p:nvSpPr>
          <p:cNvPr id="8" name="TextBox 7"/>
          <p:cNvSpPr txBox="1"/>
          <p:nvPr/>
        </p:nvSpPr>
        <p:spPr>
          <a:xfrm>
            <a:off x="5664819" y="4553741"/>
            <a:ext cx="981307" cy="408551"/>
          </a:xfrm>
          <a:prstGeom prst="rect">
            <a:avLst/>
          </a:prstGeom>
          <a:solidFill>
            <a:schemeClr val="bg2">
              <a:lumMod val="60000"/>
              <a:lumOff val="40000"/>
            </a:schemeClr>
          </a:solidFill>
          <a:effectLst>
            <a:outerShdw blurRad="50800" dist="38100" dir="2700000" algn="tl" rotWithShape="0">
              <a:prstClr val="black">
                <a:alpha val="40000"/>
              </a:prstClr>
            </a:outerShdw>
          </a:effectLst>
        </p:spPr>
        <p:txBody>
          <a:bodyPr wrap="square" lIns="0" tIns="0" rIns="0" bIns="0" rtlCol="0" anchor="ctr" anchorCtr="0">
            <a:noAutofit/>
          </a:bodyPr>
          <a:lstStyle/>
          <a:p>
            <a:pPr algn="ctr"/>
            <a:r>
              <a:rPr lang="en-US" sz="1400" dirty="0" smtClean="0">
                <a:latin typeface="Verdana"/>
                <a:cs typeface="Verdana"/>
              </a:rPr>
              <a:t>Farmer</a:t>
            </a:r>
          </a:p>
        </p:txBody>
      </p:sp>
      <p:cxnSp>
        <p:nvCxnSpPr>
          <p:cNvPr id="10" name="Straight Arrow Connector 9"/>
          <p:cNvCxnSpPr>
            <a:endCxn id="37" idx="0"/>
          </p:cNvCxnSpPr>
          <p:nvPr/>
        </p:nvCxnSpPr>
        <p:spPr>
          <a:xfrm>
            <a:off x="6947209" y="2219092"/>
            <a:ext cx="252968" cy="525822"/>
          </a:xfrm>
          <a:prstGeom prst="straightConnector1">
            <a:avLst/>
          </a:prstGeom>
          <a:ln w="57150">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endCxn id="6" idx="0"/>
          </p:cNvCxnSpPr>
          <p:nvPr/>
        </p:nvCxnSpPr>
        <p:spPr>
          <a:xfrm flipH="1">
            <a:off x="4905183" y="2219092"/>
            <a:ext cx="525460" cy="674464"/>
          </a:xfrm>
          <a:prstGeom prst="straightConnector1">
            <a:avLst/>
          </a:prstGeom>
          <a:ln w="57150">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6322742" y="3401122"/>
            <a:ext cx="1025911" cy="1148575"/>
          </a:xfrm>
          <a:prstGeom prst="straightConnector1">
            <a:avLst/>
          </a:prstGeom>
          <a:ln w="57150">
            <a:headEnd type="none" w="med" len="med"/>
            <a:tailEnd type="triangle" w="med" len="med"/>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34" name="Oval 33"/>
          <p:cNvSpPr/>
          <p:nvPr/>
        </p:nvSpPr>
        <p:spPr>
          <a:xfrm>
            <a:off x="6434253" y="3528699"/>
            <a:ext cx="1271239" cy="864881"/>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b="1" dirty="0" smtClean="0">
                <a:latin typeface="Verdana"/>
                <a:cs typeface="Verdana"/>
              </a:rPr>
              <a:t>Sales, Education &amp; Support</a:t>
            </a:r>
          </a:p>
        </p:txBody>
      </p:sp>
      <p:sp>
        <p:nvSpPr>
          <p:cNvPr id="35" name="Oval 34"/>
          <p:cNvSpPr/>
          <p:nvPr/>
        </p:nvSpPr>
        <p:spPr>
          <a:xfrm>
            <a:off x="4772720" y="3323062"/>
            <a:ext cx="1271016" cy="868680"/>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100" b="1" dirty="0" smtClean="0">
                <a:latin typeface="Verdana"/>
                <a:cs typeface="Verdana"/>
              </a:rPr>
              <a:t>Distribution</a:t>
            </a:r>
          </a:p>
        </p:txBody>
      </p:sp>
      <p:sp>
        <p:nvSpPr>
          <p:cNvPr id="36" name="TextBox 35"/>
          <p:cNvSpPr txBox="1"/>
          <p:nvPr/>
        </p:nvSpPr>
        <p:spPr>
          <a:xfrm>
            <a:off x="4404731" y="5220922"/>
            <a:ext cx="4036742" cy="914400"/>
          </a:xfrm>
          <a:prstGeom prst="rect">
            <a:avLst/>
          </a:prstGeom>
          <a:noFill/>
        </p:spPr>
        <p:txBody>
          <a:bodyPr wrap="square" lIns="0" tIns="0" rIns="0" bIns="0" rtlCol="0">
            <a:noAutofit/>
          </a:bodyPr>
          <a:lstStyle/>
          <a:p>
            <a:r>
              <a:rPr lang="en-US" sz="1400" dirty="0" smtClean="0">
                <a:latin typeface="Verdana"/>
                <a:cs typeface="Verdana"/>
              </a:rPr>
              <a:t>Pioneer Extension Partners  </a:t>
            </a:r>
          </a:p>
          <a:p>
            <a:pPr marL="285750" indent="-285750">
              <a:buFont typeface="Arial" panose="020B0604020202020204" pitchFamily="34" charset="0"/>
              <a:buChar char="•"/>
            </a:pPr>
            <a:r>
              <a:rPr lang="en-US" sz="1400" dirty="0" smtClean="0">
                <a:latin typeface="Verdana"/>
                <a:cs typeface="Verdana"/>
              </a:rPr>
              <a:t>Commissioned Sales</a:t>
            </a:r>
          </a:p>
          <a:p>
            <a:pPr marL="285750" indent="-285750">
              <a:buFont typeface="Arial" panose="020B0604020202020204" pitchFamily="34" charset="0"/>
              <a:buChar char="•"/>
            </a:pPr>
            <a:r>
              <a:rPr lang="en-US" sz="1400" dirty="0" smtClean="0">
                <a:latin typeface="Verdana"/>
                <a:cs typeface="Verdana"/>
              </a:rPr>
              <a:t>Quantity growing 3x to nearly 11,000 employees in next 5 years</a:t>
            </a:r>
          </a:p>
        </p:txBody>
      </p:sp>
      <p:sp>
        <p:nvSpPr>
          <p:cNvPr id="37" name="Oval 36"/>
          <p:cNvSpPr/>
          <p:nvPr/>
        </p:nvSpPr>
        <p:spPr>
          <a:xfrm>
            <a:off x="6150124" y="2744914"/>
            <a:ext cx="2100106" cy="653155"/>
          </a:xfrm>
          <a:prstGeom prst="ellipse">
            <a:avLst/>
          </a:prstGeom>
          <a:noFill/>
          <a:ln w="38100">
            <a:solidFill>
              <a:srgbClr val="FFC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5" name="TextBox 4"/>
          <p:cNvSpPr txBox="1"/>
          <p:nvPr/>
        </p:nvSpPr>
        <p:spPr>
          <a:xfrm>
            <a:off x="5336382" y="1962614"/>
            <a:ext cx="1716666" cy="372591"/>
          </a:xfrm>
          <a:prstGeom prst="rect">
            <a:avLst/>
          </a:prstGeom>
          <a:solidFill>
            <a:schemeClr val="bg2">
              <a:lumMod val="60000"/>
              <a:lumOff val="40000"/>
            </a:schemeClr>
          </a:solidFill>
          <a:effectLst>
            <a:outerShdw blurRad="50800" dist="38100" dir="2700000" algn="tl" rotWithShape="0">
              <a:prstClr val="black">
                <a:alpha val="40000"/>
              </a:prstClr>
            </a:outerShdw>
          </a:effectLst>
        </p:spPr>
        <p:txBody>
          <a:bodyPr wrap="square" lIns="0" tIns="0" rIns="0" bIns="0" rtlCol="0" anchor="ctr" anchorCtr="0">
            <a:noAutofit/>
          </a:bodyPr>
          <a:lstStyle/>
          <a:p>
            <a:pPr algn="ctr"/>
            <a:r>
              <a:rPr lang="en-US" sz="1400" dirty="0" smtClean="0">
                <a:latin typeface="Verdana"/>
                <a:cs typeface="Verdana"/>
              </a:rPr>
              <a:t>Sales Agronomist</a:t>
            </a:r>
          </a:p>
        </p:txBody>
      </p:sp>
    </p:spTree>
    <p:extLst>
      <p:ext uri="{BB962C8B-B14F-4D97-AF65-F5344CB8AC3E}">
        <p14:creationId xmlns:p14="http://schemas.microsoft.com/office/powerpoint/2010/main" xmlns="" val="1113221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xmlns=""/>
              </a:ext>
            </a:extLst>
          </a:blip>
          <a:srcRect l="19712" r="-1642"/>
          <a:stretch/>
        </p:blipFill>
        <p:spPr>
          <a:xfrm flipH="1">
            <a:off x="2854712" y="1096963"/>
            <a:ext cx="6289288" cy="5138737"/>
          </a:xfrm>
          <a:prstGeom prst="rect">
            <a:avLst/>
          </a:prstGeom>
        </p:spPr>
      </p:pic>
      <p:sp>
        <p:nvSpPr>
          <p:cNvPr id="7" name="Rectangle 6"/>
          <p:cNvSpPr/>
          <p:nvPr/>
        </p:nvSpPr>
        <p:spPr>
          <a:xfrm>
            <a:off x="0" y="1096963"/>
            <a:ext cx="6248400" cy="5138737"/>
          </a:xfrm>
          <a:prstGeom prst="rect">
            <a:avLst/>
          </a:prstGeom>
          <a:gradFill flip="none" rotWithShape="1">
            <a:gsLst>
              <a:gs pos="0">
                <a:schemeClr val="bg1"/>
              </a:gs>
              <a:gs pos="69000">
                <a:schemeClr val="bg1">
                  <a:lumMod val="85000"/>
                </a:schemeClr>
              </a:gs>
              <a:gs pos="100000">
                <a:schemeClr val="accent1">
                  <a:tint val="23500"/>
                  <a:satMod val="160000"/>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5" name="Rectangle 4"/>
          <p:cNvSpPr/>
          <p:nvPr/>
        </p:nvSpPr>
        <p:spPr>
          <a:xfrm>
            <a:off x="0" y="0"/>
            <a:ext cx="9144000" cy="1096963"/>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dirty="0" smtClean="0"/>
              <a:t>Mechanization Trends in Africa </a:t>
            </a:r>
            <a:br>
              <a:rPr lang="en-US" dirty="0" smtClean="0"/>
            </a:br>
            <a:endParaRPr lang="en-US" dirty="0"/>
          </a:p>
        </p:txBody>
      </p:sp>
      <p:sp>
        <p:nvSpPr>
          <p:cNvPr id="3" name="Content Placeholder 2"/>
          <p:cNvSpPr>
            <a:spLocks noGrp="1"/>
          </p:cNvSpPr>
          <p:nvPr>
            <p:ph type="body" sz="quarter" idx="10"/>
          </p:nvPr>
        </p:nvSpPr>
        <p:spPr>
          <a:xfrm>
            <a:off x="473076" y="1538287"/>
            <a:ext cx="3288696" cy="4682535"/>
          </a:xfrm>
        </p:spPr>
        <p:txBody>
          <a:bodyPr/>
          <a:lstStyle/>
          <a:p>
            <a:pPr marL="0" lvl="1" indent="0">
              <a:spcAft>
                <a:spcPts val="300"/>
              </a:spcAft>
              <a:buNone/>
            </a:pPr>
            <a:r>
              <a:rPr lang="en-US" sz="2000" dirty="0" smtClean="0">
                <a:solidFill>
                  <a:schemeClr val="tx1"/>
                </a:solidFill>
              </a:rPr>
              <a:t>Macro Economic Review</a:t>
            </a:r>
          </a:p>
          <a:p>
            <a:pPr marL="285750" lvl="1">
              <a:spcAft>
                <a:spcPts val="300"/>
              </a:spcAft>
            </a:pPr>
            <a:r>
              <a:rPr lang="en-US" sz="2000" dirty="0" smtClean="0">
                <a:solidFill>
                  <a:schemeClr val="tx1"/>
                </a:solidFill>
              </a:rPr>
              <a:t>Growth</a:t>
            </a:r>
          </a:p>
          <a:p>
            <a:pPr marL="285750" lvl="1">
              <a:spcAft>
                <a:spcPts val="300"/>
              </a:spcAft>
            </a:pPr>
            <a:r>
              <a:rPr lang="en-US" sz="2000" dirty="0" smtClean="0">
                <a:solidFill>
                  <a:schemeClr val="tx1"/>
                </a:solidFill>
              </a:rPr>
              <a:t>Demand</a:t>
            </a:r>
          </a:p>
          <a:p>
            <a:pPr marL="285750" lvl="1">
              <a:spcAft>
                <a:spcPts val="300"/>
              </a:spcAft>
            </a:pPr>
            <a:r>
              <a:rPr lang="en-US" sz="2000" dirty="0" smtClean="0">
                <a:solidFill>
                  <a:schemeClr val="tx1"/>
                </a:solidFill>
              </a:rPr>
              <a:t>Crop Value</a:t>
            </a:r>
          </a:p>
        </p:txBody>
      </p:sp>
    </p:spTree>
    <p:extLst>
      <p:ext uri="{BB962C8B-B14F-4D97-AF65-F5344CB8AC3E}">
        <p14:creationId xmlns:p14="http://schemas.microsoft.com/office/powerpoint/2010/main" xmlns="" val="41275748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The limited access to knowledge of agronomic fundamentals and financing to acquire inputs and mechanization is contributing to the yield attainment gaps in Sub-Sahara Africa.</a:t>
            </a:r>
            <a:endParaRPr lang="en-US" sz="2000" dirty="0"/>
          </a:p>
        </p:txBody>
      </p:sp>
      <p:graphicFrame>
        <p:nvGraphicFramePr>
          <p:cNvPr id="17" name="Diagram 16"/>
          <p:cNvGraphicFramePr/>
          <p:nvPr>
            <p:extLst>
              <p:ext uri="{D42A27DB-BD31-4B8C-83A1-F6EECF244321}">
                <p14:modId xmlns:p14="http://schemas.microsoft.com/office/powerpoint/2010/main" xmlns="" val="4079000443"/>
              </p:ext>
            </p:extLst>
          </p:nvPr>
        </p:nvGraphicFramePr>
        <p:xfrm>
          <a:off x="186840" y="2237696"/>
          <a:ext cx="3579779" cy="27789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59773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6" name="AutoShape 6"/>
          <p:cNvSpPr>
            <a:spLocks noChangeArrowheads="1"/>
          </p:cNvSpPr>
          <p:nvPr>
            <p:custDataLst>
              <p:tags r:id="rId2"/>
            </p:custDataLst>
          </p:nvPr>
        </p:nvSpPr>
        <p:spPr bwMode="gray">
          <a:xfrm>
            <a:off x="503770" y="1041850"/>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sp>
        <p:nvSpPr>
          <p:cNvPr id="307208" name="AutoShape 8"/>
          <p:cNvSpPr>
            <a:spLocks noChangeArrowheads="1"/>
          </p:cNvSpPr>
          <p:nvPr>
            <p:custDataLst>
              <p:tags r:id="rId3"/>
            </p:custDataLst>
          </p:nvPr>
        </p:nvSpPr>
        <p:spPr bwMode="gray">
          <a:xfrm>
            <a:off x="658137" y="3998971"/>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graphicFrame>
        <p:nvGraphicFramePr>
          <p:cNvPr id="307202" name="Rectangle 2" hidden="1"/>
          <p:cNvGraphicFramePr>
            <a:graphicFrameLocks/>
          </p:cNvGraphicFramePr>
          <p:nvPr>
            <p:custDataLst>
              <p:tags r:id="rId4"/>
            </p:custDataLst>
          </p:nvPr>
        </p:nvGraphicFramePr>
        <p:xfrm>
          <a:off x="0" y="0"/>
          <a:ext cx="161925" cy="161925"/>
        </p:xfrm>
        <a:graphic>
          <a:graphicData uri="http://schemas.openxmlformats.org/presentationml/2006/ole">
            <p:oleObj spid="_x0000_s28679" name="think-cell Slide" r:id="rId12" imgW="0" imgH="0" progId="">
              <p:embed/>
            </p:oleObj>
          </a:graphicData>
        </a:graphic>
      </p:graphicFrame>
      <p:sp>
        <p:nvSpPr>
          <p:cNvPr id="362499" name="Rectangle 3"/>
          <p:cNvSpPr>
            <a:spLocks noGrp="1" noChangeArrowheads="1"/>
          </p:cNvSpPr>
          <p:nvPr>
            <p:ph type="title"/>
            <p:custDataLst>
              <p:tags r:id="rId5"/>
            </p:custDataLst>
          </p:nvPr>
        </p:nvSpPr>
        <p:spPr bwMode="gray"/>
        <p:txBody>
          <a:bodyPr/>
          <a:lstStyle/>
          <a:p>
            <a:pPr fontAlgn="auto">
              <a:spcAft>
                <a:spcPts val="0"/>
              </a:spcAft>
              <a:defRPr/>
            </a:pPr>
            <a:r>
              <a:rPr lang="en-US" altLang="ko-KR" dirty="0">
                <a:ea typeface="Gulim" pitchFamily="34" charset="-127"/>
              </a:rPr>
              <a:t>Key </a:t>
            </a:r>
            <a:r>
              <a:rPr lang="en-US" altLang="ko-KR" dirty="0" smtClean="0">
                <a:ea typeface="Gulim" pitchFamily="34" charset="-127"/>
              </a:rPr>
              <a:t>Messages</a:t>
            </a:r>
            <a:endParaRPr lang="en-US" altLang="ko-KR" dirty="0">
              <a:ea typeface="Gulim" pitchFamily="34" charset="-127"/>
            </a:endParaRPr>
          </a:p>
        </p:txBody>
      </p:sp>
      <p:sp>
        <p:nvSpPr>
          <p:cNvPr id="307210" name="Rectangle 6"/>
          <p:cNvSpPr>
            <a:spLocks noChangeArrowheads="1"/>
          </p:cNvSpPr>
          <p:nvPr>
            <p:custDataLst>
              <p:tags r:id="rId6"/>
            </p:custDataLst>
          </p:nvPr>
        </p:nvSpPr>
        <p:spPr bwMode="gray">
          <a:xfrm>
            <a:off x="3937022" y="1417386"/>
            <a:ext cx="4329097" cy="1107996"/>
          </a:xfrm>
          <a:prstGeom prst="rect">
            <a:avLst/>
          </a:prstGeom>
          <a:noFill/>
          <a:ln w="9525">
            <a:noFill/>
            <a:miter lim="800000"/>
            <a:headEnd/>
            <a:tailEnd/>
          </a:ln>
        </p:spPr>
        <p:txBody>
          <a:bodyPr wrap="square" lIns="0" tIns="0" rIns="0" bIns="0" anchor="ctr">
            <a:spAutoFit/>
          </a:bodyPr>
          <a:lstStyle/>
          <a:p>
            <a:pPr defTabSz="912813"/>
            <a:r>
              <a:rPr lang="en-US" dirty="0">
                <a:latin typeface="Verdana" pitchFamily="34" charset="0"/>
                <a:ea typeface="Gulim" pitchFamily="34" charset="-127"/>
              </a:rPr>
              <a:t>The potential for increased Ag production in Africa is enormous and some countries matter more than others</a:t>
            </a:r>
            <a:endParaRPr lang="en-US" altLang="ko-KR" dirty="0">
              <a:latin typeface="Verdana" pitchFamily="34" charset="0"/>
              <a:ea typeface="Gulim" pitchFamily="34" charset="-127"/>
            </a:endParaRPr>
          </a:p>
        </p:txBody>
      </p:sp>
      <p:sp>
        <p:nvSpPr>
          <p:cNvPr id="307212" name="Rectangle 15"/>
          <p:cNvSpPr>
            <a:spLocks noChangeArrowheads="1"/>
          </p:cNvSpPr>
          <p:nvPr>
            <p:custDataLst>
              <p:tags r:id="rId7"/>
            </p:custDataLst>
          </p:nvPr>
        </p:nvSpPr>
        <p:spPr bwMode="gray">
          <a:xfrm>
            <a:off x="4135271" y="4513007"/>
            <a:ext cx="4331865" cy="830997"/>
          </a:xfrm>
          <a:prstGeom prst="rect">
            <a:avLst/>
          </a:prstGeom>
          <a:noFill/>
          <a:ln w="9525">
            <a:noFill/>
            <a:miter lim="800000"/>
            <a:headEnd/>
            <a:tailEnd/>
          </a:ln>
        </p:spPr>
        <p:txBody>
          <a:bodyPr wrap="square" lIns="0" tIns="0" rIns="0" bIns="0" anchor="ctr">
            <a:spAutoFit/>
          </a:bodyPr>
          <a:lstStyle/>
          <a:p>
            <a:pPr lvl="0"/>
            <a:r>
              <a:rPr lang="en-US" b="1" dirty="0">
                <a:latin typeface="Verdana" pitchFamily="34" charset="0"/>
                <a:ea typeface="Gulim" pitchFamily="34" charset="-127"/>
              </a:rPr>
              <a:t>Factors other than agronomic potential will enable or constrain </a:t>
            </a:r>
            <a:r>
              <a:rPr lang="en-US" b="1" dirty="0" smtClean="0">
                <a:latin typeface="Verdana" pitchFamily="34" charset="0"/>
                <a:ea typeface="Gulim" pitchFamily="34" charset="-127"/>
              </a:rPr>
              <a:t>each country’s growth </a:t>
            </a:r>
            <a:r>
              <a:rPr lang="en-US" b="1" dirty="0">
                <a:latin typeface="Verdana" pitchFamily="34" charset="0"/>
                <a:ea typeface="Gulim" pitchFamily="34" charset="-127"/>
              </a:rPr>
              <a:t>potential.</a:t>
            </a:r>
          </a:p>
        </p:txBody>
      </p:sp>
      <p:sp>
        <p:nvSpPr>
          <p:cNvPr id="307218" name="Rectangle 18"/>
          <p:cNvSpPr>
            <a:spLocks noChangeArrowheads="1"/>
          </p:cNvSpPr>
          <p:nvPr>
            <p:custDataLst>
              <p:tags r:id="rId8"/>
            </p:custDataLst>
          </p:nvPr>
        </p:nvSpPr>
        <p:spPr bwMode="auto">
          <a:xfrm>
            <a:off x="1255713" y="929820"/>
            <a:ext cx="1781175" cy="1501775"/>
          </a:xfrm>
          <a:prstGeom prst="rect">
            <a:avLst/>
          </a:prstGeom>
          <a:noFill/>
          <a:ln w="9525">
            <a:noFill/>
            <a:miter lim="800000"/>
            <a:headEnd/>
            <a:tailEnd/>
          </a:ln>
          <a:effectLst/>
        </p:spPr>
        <p:txBody>
          <a:bodyPr wrap="none" anchor="ctr"/>
          <a:lstStyle/>
          <a:p>
            <a:endParaRPr lang="en-US" sz="1600"/>
          </a:p>
        </p:txBody>
      </p:sp>
      <p:sp>
        <p:nvSpPr>
          <p:cNvPr id="307219" name="Rectangle 19"/>
          <p:cNvSpPr>
            <a:spLocks noChangeArrowheads="1"/>
          </p:cNvSpPr>
          <p:nvPr>
            <p:custDataLst>
              <p:tags r:id="rId9"/>
            </p:custDataLst>
          </p:nvPr>
        </p:nvSpPr>
        <p:spPr bwMode="auto">
          <a:xfrm>
            <a:off x="1255713" y="2610983"/>
            <a:ext cx="1781175" cy="1501775"/>
          </a:xfrm>
          <a:prstGeom prst="rect">
            <a:avLst/>
          </a:prstGeom>
          <a:noFill/>
          <a:ln w="9525">
            <a:noFill/>
            <a:miter lim="800000"/>
            <a:headEnd/>
            <a:tailEnd/>
          </a:ln>
          <a:effectLst/>
        </p:spPr>
        <p:txBody>
          <a:bodyPr wrap="none" anchor="ctr"/>
          <a:lstStyle/>
          <a:p>
            <a:pPr algn="ctr"/>
            <a:endParaRPr lang="en-US" sz="1600"/>
          </a:p>
        </p:txBody>
      </p:sp>
    </p:spTree>
    <p:extLst>
      <p:ext uri="{BB962C8B-B14F-4D97-AF65-F5344CB8AC3E}">
        <p14:creationId xmlns:p14="http://schemas.microsoft.com/office/powerpoint/2010/main" xmlns="" val="24720013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3" name="Rectangle 2" hidden="1"/>
          <p:cNvGraphicFramePr>
            <a:graphicFrameLocks/>
          </p:cNvGraphicFramePr>
          <p:nvPr>
            <p:custDataLst>
              <p:tags r:id="rId2"/>
            </p:custDataLst>
          </p:nvPr>
        </p:nvGraphicFramePr>
        <p:xfrm>
          <a:off x="0" y="0"/>
          <a:ext cx="161925" cy="161925"/>
        </p:xfrm>
        <a:graphic>
          <a:graphicData uri="http://schemas.openxmlformats.org/presentationml/2006/ole">
            <p:oleObj spid="_x0000_s19840" name="think-cell Slide" r:id="rId31" imgW="0" imgH="0" progId="">
              <p:embed/>
            </p:oleObj>
          </a:graphicData>
        </a:graphic>
      </p:graphicFrame>
      <p:sp>
        <p:nvSpPr>
          <p:cNvPr id="25604"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931863"/>
            <a:endParaRPr lang="en-US" sz="1000" b="1">
              <a:latin typeface="Verdana" pitchFamily="34" charset="0"/>
            </a:endParaRPr>
          </a:p>
        </p:txBody>
      </p:sp>
      <p:sp>
        <p:nvSpPr>
          <p:cNvPr id="25614" name="Rectangle 13"/>
          <p:cNvSpPr>
            <a:spLocks noGrp="1"/>
          </p:cNvSpPr>
          <p:nvPr>
            <p:ph type="title"/>
            <p:custDataLst>
              <p:tags r:id="rId4"/>
            </p:custDataLst>
          </p:nvPr>
        </p:nvSpPr>
        <p:spPr bwMode="gray"/>
        <p:txBody>
          <a:bodyPr/>
          <a:lstStyle/>
          <a:p>
            <a:r>
              <a:rPr lang="en-US" sz="2000" dirty="0" smtClean="0"/>
              <a:t>Africa’s projected CAGR growth is forecasted at approximately 4.6 % between 2008 and 2023.  The forecasted growth is second only to emerging Asia.</a:t>
            </a:r>
            <a:br>
              <a:rPr lang="en-US" sz="2000" dirty="0" smtClean="0"/>
            </a:br>
            <a:endParaRPr lang="en-US" sz="2000" dirty="0" smtClean="0"/>
          </a:p>
        </p:txBody>
      </p:sp>
      <p:grpSp>
        <p:nvGrpSpPr>
          <p:cNvPr id="2" name="Group 1"/>
          <p:cNvGrpSpPr/>
          <p:nvPr/>
        </p:nvGrpSpPr>
        <p:grpSpPr>
          <a:xfrm>
            <a:off x="419322" y="1591056"/>
            <a:ext cx="8475663" cy="4561506"/>
            <a:chOff x="457200" y="1538061"/>
            <a:chExt cx="8475663" cy="4561506"/>
          </a:xfrm>
        </p:grpSpPr>
        <p:sp>
          <p:nvSpPr>
            <p:cNvPr id="25602" name="Rectangle 7"/>
            <p:cNvSpPr>
              <a:spLocks noChangeArrowheads="1"/>
            </p:cNvSpPr>
            <p:nvPr>
              <p:custDataLst>
                <p:tags r:id="rId5"/>
              </p:custDataLst>
            </p:nvPr>
          </p:nvSpPr>
          <p:spPr bwMode="auto">
            <a:xfrm>
              <a:off x="457200" y="1538061"/>
              <a:ext cx="5014913" cy="4325938"/>
            </a:xfrm>
            <a:prstGeom prst="rect">
              <a:avLst/>
            </a:prstGeom>
            <a:solidFill>
              <a:schemeClr val="bg1"/>
            </a:solidFill>
            <a:ln w="3175" algn="ctr">
              <a:solidFill>
                <a:schemeClr val="accent1"/>
              </a:solidFill>
              <a:miter lim="800000"/>
              <a:headEnd/>
              <a:tailEnd/>
            </a:ln>
          </p:spPr>
          <p:txBody>
            <a:bodyPr wrap="none" anchor="ctr"/>
            <a:lstStyle/>
            <a:p>
              <a:pPr defTabSz="912813"/>
              <a:endParaRPr lang="es-CO" sz="1100">
                <a:latin typeface="Verdana" pitchFamily="34" charset="0"/>
              </a:endParaRPr>
            </a:p>
          </p:txBody>
        </p:sp>
        <p:sp>
          <p:nvSpPr>
            <p:cNvPr id="25605" name="Rectangle 33"/>
            <p:cNvSpPr>
              <a:spLocks noChangeArrowheads="1"/>
            </p:cNvSpPr>
            <p:nvPr>
              <p:custDataLst>
                <p:tags r:id="rId6"/>
              </p:custDataLst>
            </p:nvPr>
          </p:nvSpPr>
          <p:spPr bwMode="auto">
            <a:xfrm>
              <a:off x="5605463" y="1538061"/>
              <a:ext cx="3327400" cy="4325938"/>
            </a:xfrm>
            <a:prstGeom prst="rect">
              <a:avLst/>
            </a:prstGeom>
            <a:solidFill>
              <a:schemeClr val="bg1"/>
            </a:solidFill>
            <a:ln w="3175" algn="ctr">
              <a:solidFill>
                <a:schemeClr val="accent1"/>
              </a:solidFill>
              <a:miter lim="800000"/>
              <a:headEnd/>
              <a:tailEnd/>
            </a:ln>
          </p:spPr>
          <p:txBody>
            <a:bodyPr wrap="none" anchor="ctr"/>
            <a:lstStyle/>
            <a:p>
              <a:pPr defTabSz="912813"/>
              <a:endParaRPr lang="es-CO" sz="1100">
                <a:latin typeface="Verdana" pitchFamily="34" charset="0"/>
              </a:endParaRPr>
            </a:p>
          </p:txBody>
        </p:sp>
        <p:graphicFrame>
          <p:nvGraphicFramePr>
            <p:cNvPr id="25606" name="Object 3"/>
            <p:cNvGraphicFramePr>
              <a:graphicFrameLocks/>
            </p:cNvGraphicFramePr>
            <p:nvPr>
              <p:custDataLst>
                <p:tags r:id="rId7"/>
              </p:custDataLst>
              <p:extLst>
                <p:ext uri="{D42A27DB-BD31-4B8C-83A1-F6EECF244321}">
                  <p14:modId xmlns:p14="http://schemas.microsoft.com/office/powerpoint/2010/main" xmlns="" val="2142952031"/>
                </p:ext>
              </p:extLst>
            </p:nvPr>
          </p:nvGraphicFramePr>
          <p:xfrm>
            <a:off x="6626225" y="1946049"/>
            <a:ext cx="2295525" cy="3884612"/>
          </p:xfrm>
          <a:graphic>
            <a:graphicData uri="http://schemas.openxmlformats.org/presentationml/2006/ole">
              <p:oleObj spid="_x0000_s19841" name="Chart" r:id="rId32" imgW="2293607" imgH="3886094" progId="MSGraph.Chart.8">
                <p:embed followColorScheme="full"/>
              </p:oleObj>
            </a:graphicData>
          </a:graphic>
        </p:graphicFrame>
        <p:sp>
          <p:nvSpPr>
            <p:cNvPr id="25607" name="Rectangle 10"/>
            <p:cNvSpPr>
              <a:spLocks/>
            </p:cNvSpPr>
            <p:nvPr>
              <p:custDataLst>
                <p:tags r:id="rId8"/>
              </p:custDataLst>
            </p:nvPr>
          </p:nvSpPr>
          <p:spPr bwMode="auto">
            <a:xfrm>
              <a:off x="5678488" y="5313136"/>
              <a:ext cx="681037"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Developed</a:t>
              </a:r>
              <a:br>
                <a:rPr lang="en-US" sz="1000">
                  <a:latin typeface="Verdana" pitchFamily="34" charset="0"/>
                </a:rPr>
              </a:br>
              <a:r>
                <a:rPr lang="en-US" sz="1000">
                  <a:latin typeface="Verdana" pitchFamily="34" charset="0"/>
                </a:rPr>
                <a:t>economies</a:t>
              </a:r>
            </a:p>
          </p:txBody>
        </p:sp>
        <p:sp>
          <p:nvSpPr>
            <p:cNvPr id="25608" name="Rectangle 11"/>
            <p:cNvSpPr>
              <a:spLocks/>
            </p:cNvSpPr>
            <p:nvPr>
              <p:custDataLst>
                <p:tags r:id="rId9"/>
              </p:custDataLst>
            </p:nvPr>
          </p:nvSpPr>
          <p:spPr bwMode="auto">
            <a:xfrm>
              <a:off x="5678488" y="4860699"/>
              <a:ext cx="37147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World</a:t>
              </a:r>
            </a:p>
          </p:txBody>
        </p:sp>
        <p:sp>
          <p:nvSpPr>
            <p:cNvPr id="25609" name="Rectangle 5"/>
            <p:cNvSpPr>
              <a:spLocks/>
            </p:cNvSpPr>
            <p:nvPr>
              <p:custDataLst>
                <p:tags r:id="rId10"/>
              </p:custDataLst>
            </p:nvPr>
          </p:nvSpPr>
          <p:spPr bwMode="auto">
            <a:xfrm>
              <a:off x="5678488" y="4332061"/>
              <a:ext cx="877887"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Latin America</a:t>
              </a:r>
            </a:p>
          </p:txBody>
        </p:sp>
        <p:sp>
          <p:nvSpPr>
            <p:cNvPr id="25610" name="Rectangle 6"/>
            <p:cNvSpPr>
              <a:spLocks/>
            </p:cNvSpPr>
            <p:nvPr>
              <p:custDataLst>
                <p:tags r:id="rId11"/>
              </p:custDataLst>
            </p:nvPr>
          </p:nvSpPr>
          <p:spPr bwMode="auto">
            <a:xfrm>
              <a:off x="5678488" y="3731986"/>
              <a:ext cx="979487"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Central and</a:t>
              </a:r>
              <a:br>
                <a:rPr lang="en-US" sz="1000">
                  <a:latin typeface="Verdana" pitchFamily="34" charset="0"/>
                </a:rPr>
              </a:br>
              <a:r>
                <a:rPr lang="en-US" sz="1000">
                  <a:latin typeface="Verdana" pitchFamily="34" charset="0"/>
                </a:rPr>
                <a:t>Eastern Europe</a:t>
              </a:r>
            </a:p>
          </p:txBody>
        </p:sp>
        <p:sp>
          <p:nvSpPr>
            <p:cNvPr id="25611" name="Rectangle 7"/>
            <p:cNvSpPr>
              <a:spLocks/>
            </p:cNvSpPr>
            <p:nvPr>
              <p:custDataLst>
                <p:tags r:id="rId12"/>
              </p:custDataLst>
            </p:nvPr>
          </p:nvSpPr>
          <p:spPr bwMode="auto">
            <a:xfrm>
              <a:off x="5678488" y="3284311"/>
              <a:ext cx="46037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b="1">
                  <a:solidFill>
                    <a:schemeClr val="tx2"/>
                  </a:solidFill>
                  <a:latin typeface="Verdana" pitchFamily="34" charset="0"/>
                </a:rPr>
                <a:t>Africa </a:t>
              </a:r>
            </a:p>
          </p:txBody>
        </p:sp>
        <p:sp>
          <p:nvSpPr>
            <p:cNvPr id="25612" name="Rectangle 8"/>
            <p:cNvSpPr>
              <a:spLocks/>
            </p:cNvSpPr>
            <p:nvPr>
              <p:custDataLst>
                <p:tags r:id="rId13"/>
              </p:custDataLst>
            </p:nvPr>
          </p:nvSpPr>
          <p:spPr bwMode="auto">
            <a:xfrm>
              <a:off x="5678488" y="2755674"/>
              <a:ext cx="7747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Middle East </a:t>
              </a:r>
            </a:p>
          </p:txBody>
        </p:sp>
        <p:sp>
          <p:nvSpPr>
            <p:cNvPr id="25613" name="Rectangle 9"/>
            <p:cNvSpPr>
              <a:spLocks/>
            </p:cNvSpPr>
            <p:nvPr>
              <p:custDataLst>
                <p:tags r:id="rId14"/>
              </p:custDataLst>
            </p:nvPr>
          </p:nvSpPr>
          <p:spPr bwMode="auto">
            <a:xfrm>
              <a:off x="5678488" y="2227036"/>
              <a:ext cx="91916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p>
              <a:pPr>
                <a:buFont typeface="Arial" pitchFamily="34" charset="0"/>
                <a:buNone/>
              </a:pPr>
              <a:r>
                <a:rPr lang="en-US" sz="1000">
                  <a:latin typeface="Verdana" pitchFamily="34" charset="0"/>
                </a:rPr>
                <a:t>Emerging Asia</a:t>
              </a:r>
            </a:p>
          </p:txBody>
        </p:sp>
        <p:sp>
          <p:nvSpPr>
            <p:cNvPr id="25615" name="Rectangle 6"/>
            <p:cNvSpPr>
              <a:spLocks noChangeArrowheads="1"/>
            </p:cNvSpPr>
            <p:nvPr>
              <p:custDataLst>
                <p:tags r:id="rId15"/>
              </p:custDataLst>
            </p:nvPr>
          </p:nvSpPr>
          <p:spPr bwMode="gray">
            <a:xfrm>
              <a:off x="519113" y="1609499"/>
              <a:ext cx="1235916"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defTabSz="911225">
                <a:buClr>
                  <a:schemeClr val="tx2"/>
                </a:buClr>
              </a:pPr>
              <a:r>
                <a:rPr lang="en-US" sz="1000" b="1" dirty="0">
                  <a:solidFill>
                    <a:schemeClr val="tx2"/>
                  </a:solidFill>
                  <a:latin typeface="Verdana" pitchFamily="34" charset="0"/>
                </a:rPr>
                <a:t>African GDP</a:t>
              </a:r>
              <a:r>
                <a:rPr lang="en-US" sz="1000" b="1" dirty="0" smtClean="0">
                  <a:solidFill>
                    <a:schemeClr val="tx2"/>
                  </a:solidFill>
                  <a:latin typeface="Verdana" pitchFamily="34" charset="0"/>
                </a:rPr>
                <a:t>,</a:t>
              </a:r>
            </a:p>
            <a:p>
              <a:pPr defTabSz="911225">
                <a:buClr>
                  <a:schemeClr val="tx2"/>
                </a:buClr>
              </a:pPr>
              <a:r>
                <a:rPr lang="en-US" sz="1000" dirty="0">
                  <a:solidFill>
                    <a:srgbClr val="808080"/>
                  </a:solidFill>
                  <a:latin typeface="Verdana" pitchFamily="34" charset="0"/>
                </a:rPr>
                <a:t> 2005 </a:t>
              </a:r>
              <a:r>
                <a:rPr lang="en-US" sz="1000" dirty="0" smtClean="0">
                  <a:solidFill>
                    <a:srgbClr val="808080"/>
                  </a:solidFill>
                  <a:latin typeface="Verdana" pitchFamily="34" charset="0"/>
                </a:rPr>
                <a:t>$ </a:t>
              </a:r>
              <a:r>
                <a:rPr lang="en-US" sz="1000" dirty="0">
                  <a:solidFill>
                    <a:srgbClr val="808080"/>
                  </a:solidFill>
                  <a:latin typeface="Verdana" pitchFamily="34" charset="0"/>
                </a:rPr>
                <a:t>billion PPP</a:t>
              </a:r>
            </a:p>
          </p:txBody>
        </p:sp>
        <p:sp>
          <p:nvSpPr>
            <p:cNvPr id="25616" name="Legend1"/>
            <p:cNvSpPr>
              <a:spLocks noChangeArrowheads="1"/>
            </p:cNvSpPr>
            <p:nvPr>
              <p:custDataLst>
                <p:tags r:id="rId16"/>
              </p:custDataLst>
            </p:nvPr>
          </p:nvSpPr>
          <p:spPr bwMode="gray">
            <a:xfrm>
              <a:off x="4176713" y="1609499"/>
              <a:ext cx="1190625"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defTabSz="911225">
                <a:buClr>
                  <a:schemeClr val="tx2"/>
                </a:buClr>
              </a:pPr>
              <a:r>
                <a:rPr lang="en-US" sz="1000">
                  <a:latin typeface="Verdana" pitchFamily="34" charset="0"/>
                </a:rPr>
                <a:t>Compound annual growth rate, %</a:t>
              </a:r>
            </a:p>
          </p:txBody>
        </p:sp>
        <p:sp>
          <p:nvSpPr>
            <p:cNvPr id="25617" name="LegendRectangle1"/>
            <p:cNvSpPr>
              <a:spLocks noChangeArrowheads="1"/>
            </p:cNvSpPr>
            <p:nvPr>
              <p:custDataLst>
                <p:tags r:id="rId17"/>
              </p:custDataLst>
            </p:nvPr>
          </p:nvSpPr>
          <p:spPr bwMode="gray">
            <a:xfrm>
              <a:off x="3933825" y="1641249"/>
              <a:ext cx="196850" cy="133350"/>
            </a:xfrm>
            <a:prstGeom prst="ellipse">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defTabSz="912813"/>
              <a:endParaRPr lang="es-CO" sz="1100">
                <a:latin typeface="Verdana" pitchFamily="34" charset="0"/>
              </a:endParaRPr>
            </a:p>
          </p:txBody>
        </p:sp>
        <p:sp>
          <p:nvSpPr>
            <p:cNvPr id="25618" name="Rectangle 32"/>
            <p:cNvSpPr>
              <a:spLocks noChangeArrowheads="1"/>
            </p:cNvSpPr>
            <p:nvPr>
              <p:custDataLst>
                <p:tags r:id="rId18"/>
              </p:custDataLst>
            </p:nvPr>
          </p:nvSpPr>
          <p:spPr bwMode="gray">
            <a:xfrm>
              <a:off x="5657850" y="1609499"/>
              <a:ext cx="2935288"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defTabSz="911225">
                <a:buClr>
                  <a:schemeClr val="tx2"/>
                </a:buClr>
              </a:pPr>
              <a:r>
                <a:rPr lang="en-US" sz="1000" b="1">
                  <a:solidFill>
                    <a:schemeClr val="tx2"/>
                  </a:solidFill>
                  <a:latin typeface="Verdana" pitchFamily="34" charset="0"/>
                </a:rPr>
                <a:t>Compound annual GDP growth, 2008–23</a:t>
              </a:r>
            </a:p>
            <a:p>
              <a:pPr defTabSz="911225">
                <a:buClr>
                  <a:schemeClr val="tx2"/>
                </a:buClr>
              </a:pPr>
              <a:r>
                <a:rPr lang="en-US" sz="1000">
                  <a:solidFill>
                    <a:srgbClr val="808080"/>
                  </a:solidFill>
                  <a:latin typeface="Verdana" pitchFamily="34" charset="0"/>
                </a:rPr>
                <a:t>%, 2005 PPP$</a:t>
              </a:r>
            </a:p>
          </p:txBody>
        </p:sp>
        <p:sp>
          <p:nvSpPr>
            <p:cNvPr id="25619" name="Rectangle 44"/>
            <p:cNvSpPr>
              <a:spLocks/>
            </p:cNvSpPr>
            <p:nvPr>
              <p:custDataLst>
                <p:tags r:id="rId19"/>
              </p:custDataLst>
            </p:nvPr>
          </p:nvSpPr>
          <p:spPr bwMode="auto">
            <a:xfrm>
              <a:off x="2566988" y="5367111"/>
              <a:ext cx="17462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buFont typeface="Arial" pitchFamily="34" charset="0"/>
                <a:buNone/>
              </a:pPr>
              <a:endParaRPr lang="en-US" sz="1000">
                <a:latin typeface="Verdana" pitchFamily="34" charset="0"/>
              </a:endParaRPr>
            </a:p>
          </p:txBody>
        </p:sp>
        <p:sp>
          <p:nvSpPr>
            <p:cNvPr id="25620" name="Rectangle 47"/>
            <p:cNvSpPr>
              <a:spLocks/>
            </p:cNvSpPr>
            <p:nvPr>
              <p:custDataLst>
                <p:tags r:id="rId20"/>
              </p:custDataLst>
            </p:nvPr>
          </p:nvSpPr>
          <p:spPr bwMode="auto">
            <a:xfrm>
              <a:off x="1516063" y="5354411"/>
              <a:ext cx="336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buFont typeface="Arial" pitchFamily="34" charset="0"/>
                <a:buNone/>
              </a:pPr>
              <a:endParaRPr lang="en-US" sz="1000">
                <a:latin typeface="Verdana" pitchFamily="34" charset="0"/>
              </a:endParaRPr>
            </a:p>
          </p:txBody>
        </p:sp>
        <p:sp>
          <p:nvSpPr>
            <p:cNvPr id="25621" name="McK 5. Source"/>
            <p:cNvSpPr>
              <a:spLocks noChangeArrowheads="1"/>
            </p:cNvSpPr>
            <p:nvPr>
              <p:custDataLst>
                <p:tags r:id="rId21"/>
              </p:custDataLst>
            </p:nvPr>
          </p:nvSpPr>
          <p:spPr bwMode="auto">
            <a:xfrm>
              <a:off x="466169" y="5974917"/>
              <a:ext cx="7604125" cy="12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0713" indent="-620713" defTabSz="912813">
                <a:lnSpc>
                  <a:spcPct val="90000"/>
                </a:lnSpc>
                <a:tabLst>
                  <a:tab pos="623888" algn="l"/>
                </a:tabLst>
              </a:pPr>
              <a:r>
                <a:rPr lang="en-GB" sz="900" dirty="0">
                  <a:solidFill>
                    <a:schemeClr val="folHlink"/>
                  </a:solidFill>
                  <a:latin typeface="Verdana" pitchFamily="34" charset="0"/>
                </a:rPr>
                <a:t>SOURCE: </a:t>
              </a:r>
              <a:r>
                <a:rPr lang="en-US" sz="900" dirty="0">
                  <a:solidFill>
                    <a:schemeClr val="folHlink"/>
                  </a:solidFill>
                  <a:latin typeface="Verdana" pitchFamily="34" charset="0"/>
                </a:rPr>
                <a:t>Global </a:t>
              </a:r>
              <a:r>
                <a:rPr lang="en-US" sz="900" dirty="0" smtClean="0">
                  <a:solidFill>
                    <a:schemeClr val="folHlink"/>
                  </a:solidFill>
                  <a:latin typeface="Verdana" pitchFamily="34" charset="0"/>
                </a:rPr>
                <a:t>Insight </a:t>
              </a:r>
              <a:endParaRPr lang="en-US" sz="900" dirty="0">
                <a:solidFill>
                  <a:schemeClr val="folHlink"/>
                </a:solidFill>
                <a:latin typeface="Verdana" pitchFamily="34" charset="0"/>
              </a:endParaRPr>
            </a:p>
          </p:txBody>
        </p:sp>
        <p:pic>
          <p:nvPicPr>
            <p:cNvPr id="25623" name="Picture 28"/>
            <p:cNvPicPr>
              <a:picLocks noChangeAspect="1" noChangeArrowheads="1"/>
            </p:cNvPicPr>
            <p:nvPr/>
          </p:nvPicPr>
          <p:blipFill>
            <a:blip r:embed="rId33">
              <a:extLst>
                <a:ext uri="{28A0092B-C50C-407E-A947-70E740481C1C}">
                  <a14:useLocalDpi xmlns:a14="http://schemas.microsoft.com/office/drawing/2010/main" xmlns="" val="0"/>
                </a:ext>
              </a:extLst>
            </a:blip>
            <a:srcRect/>
            <a:stretch>
              <a:fillRect/>
            </a:stretch>
          </p:blipFill>
          <p:spPr bwMode="auto">
            <a:xfrm>
              <a:off x="457200" y="2449286"/>
              <a:ext cx="5008563" cy="342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24" name="Oval 36"/>
            <p:cNvSpPr>
              <a:spLocks/>
            </p:cNvSpPr>
            <p:nvPr>
              <p:custDataLst>
                <p:tags r:id="rId22"/>
              </p:custDataLst>
            </p:nvPr>
          </p:nvSpPr>
          <p:spPr bwMode="auto">
            <a:xfrm>
              <a:off x="1447800" y="36684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1</a:t>
              </a:r>
            </a:p>
          </p:txBody>
        </p:sp>
        <p:sp>
          <p:nvSpPr>
            <p:cNvPr id="25625" name="Oval 36"/>
            <p:cNvSpPr>
              <a:spLocks/>
            </p:cNvSpPr>
            <p:nvPr>
              <p:custDataLst>
                <p:tags r:id="rId23"/>
              </p:custDataLst>
            </p:nvPr>
          </p:nvSpPr>
          <p:spPr bwMode="auto">
            <a:xfrm>
              <a:off x="1981200" y="35160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3.8</a:t>
              </a:r>
            </a:p>
          </p:txBody>
        </p:sp>
        <p:sp>
          <p:nvSpPr>
            <p:cNvPr id="25626" name="Oval 36"/>
            <p:cNvSpPr>
              <a:spLocks/>
            </p:cNvSpPr>
            <p:nvPr>
              <p:custDataLst>
                <p:tags r:id="rId24"/>
              </p:custDataLst>
            </p:nvPr>
          </p:nvSpPr>
          <p:spPr bwMode="auto">
            <a:xfrm>
              <a:off x="2514600" y="33636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1</a:t>
              </a:r>
            </a:p>
          </p:txBody>
        </p:sp>
        <p:sp>
          <p:nvSpPr>
            <p:cNvPr id="25627" name="Oval 36"/>
            <p:cNvSpPr>
              <a:spLocks/>
            </p:cNvSpPr>
            <p:nvPr>
              <p:custDataLst>
                <p:tags r:id="rId25"/>
              </p:custDataLst>
            </p:nvPr>
          </p:nvSpPr>
          <p:spPr bwMode="auto">
            <a:xfrm>
              <a:off x="3048000" y="32112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4</a:t>
              </a:r>
            </a:p>
          </p:txBody>
        </p:sp>
        <p:sp>
          <p:nvSpPr>
            <p:cNvPr id="25628" name="Oval 36"/>
            <p:cNvSpPr>
              <a:spLocks/>
            </p:cNvSpPr>
            <p:nvPr>
              <p:custDataLst>
                <p:tags r:id="rId26"/>
              </p:custDataLst>
            </p:nvPr>
          </p:nvSpPr>
          <p:spPr bwMode="auto">
            <a:xfrm>
              <a:off x="3581400" y="30588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5</a:t>
              </a:r>
            </a:p>
          </p:txBody>
        </p:sp>
        <p:sp>
          <p:nvSpPr>
            <p:cNvPr id="25629" name="Oval 36"/>
            <p:cNvSpPr>
              <a:spLocks/>
            </p:cNvSpPr>
            <p:nvPr>
              <p:custDataLst>
                <p:tags r:id="rId27"/>
              </p:custDataLst>
            </p:nvPr>
          </p:nvSpPr>
          <p:spPr bwMode="auto">
            <a:xfrm>
              <a:off x="4114800" y="28302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6</a:t>
              </a:r>
            </a:p>
          </p:txBody>
        </p:sp>
        <p:sp>
          <p:nvSpPr>
            <p:cNvPr id="25630" name="Oval 36"/>
            <p:cNvSpPr>
              <a:spLocks/>
            </p:cNvSpPr>
            <p:nvPr>
              <p:custDataLst>
                <p:tags r:id="rId28"/>
              </p:custDataLst>
            </p:nvPr>
          </p:nvSpPr>
          <p:spPr bwMode="auto">
            <a:xfrm>
              <a:off x="4648200" y="2677886"/>
              <a:ext cx="457200" cy="228600"/>
            </a:xfrm>
            <a:prstGeom prst="ellipse">
              <a:avLst/>
            </a:prstGeom>
            <a:solidFill>
              <a:schemeClr val="accent2"/>
            </a:solidFill>
            <a:ln w="9525">
              <a:solidFill>
                <a:schemeClr val="tx2"/>
              </a:solidFill>
              <a:round/>
              <a:headEnd/>
              <a:tailEnd/>
            </a:ln>
          </p:spPr>
          <p:txBody>
            <a:bodyPr wrap="none" lIns="0" tIns="0" rIns="0" bIns="0" anchor="ctr"/>
            <a:lstStyle/>
            <a:p>
              <a:pPr algn="ctr">
                <a:lnSpc>
                  <a:spcPct val="90000"/>
                </a:lnSpc>
                <a:buFont typeface="Arial" pitchFamily="34" charset="0"/>
                <a:buNone/>
              </a:pPr>
              <a:r>
                <a:rPr lang="en-US" sz="1000" b="1">
                  <a:latin typeface="Verdana" pitchFamily="34" charset="0"/>
                </a:rPr>
                <a:t>4.6</a:t>
              </a:r>
            </a:p>
          </p:txBody>
        </p:sp>
      </p:grpSp>
    </p:spTree>
    <p:extLst>
      <p:ext uri="{BB962C8B-B14F-4D97-AF65-F5344CB8AC3E}">
        <p14:creationId xmlns:p14="http://schemas.microsoft.com/office/powerpoint/2010/main" xmlns="" val="39654782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901183" y="1692403"/>
            <a:ext cx="2501709" cy="277078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2" name="Rectangle 11"/>
          <p:cNvSpPr/>
          <p:nvPr/>
        </p:nvSpPr>
        <p:spPr>
          <a:xfrm>
            <a:off x="1150703" y="1692961"/>
            <a:ext cx="2399226" cy="27762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0" name="Rectangle 9"/>
          <p:cNvSpPr/>
          <p:nvPr/>
        </p:nvSpPr>
        <p:spPr>
          <a:xfrm>
            <a:off x="3549929" y="1692961"/>
            <a:ext cx="2435680" cy="277626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dirty="0" smtClean="0"/>
              <a:t>GDP per Capita for the top and middle 6 countries remains reasonably strong relative to the immense population growth during this time period.</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xmlns="" val="1766211812"/>
              </p:ext>
            </p:extLst>
          </p:nvPr>
        </p:nvGraphicFramePr>
        <p:xfrm>
          <a:off x="368523" y="2019718"/>
          <a:ext cx="8632371" cy="3608196"/>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p:cNvSpPr/>
          <p:nvPr/>
        </p:nvSpPr>
        <p:spPr>
          <a:xfrm>
            <a:off x="2962455" y="1815556"/>
            <a:ext cx="108543" cy="34164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cxnSp>
        <p:nvCxnSpPr>
          <p:cNvPr id="6" name="Straight Connector 5"/>
          <p:cNvCxnSpPr/>
          <p:nvPr/>
        </p:nvCxnSpPr>
        <p:spPr>
          <a:xfrm flipH="1">
            <a:off x="2964972" y="2066768"/>
            <a:ext cx="80386" cy="120599"/>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H="1">
            <a:off x="2976700" y="2138784"/>
            <a:ext cx="80386" cy="120599"/>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2753956" y="1669879"/>
            <a:ext cx="914400" cy="271287"/>
          </a:xfrm>
          <a:prstGeom prst="rect">
            <a:avLst/>
          </a:prstGeom>
          <a:noFill/>
        </p:spPr>
        <p:txBody>
          <a:bodyPr wrap="none" lIns="0" tIns="0" rIns="0" bIns="0" rtlCol="0">
            <a:noAutofit/>
          </a:bodyPr>
          <a:lstStyle/>
          <a:p>
            <a:r>
              <a:rPr lang="en-US" sz="1050" dirty="0" smtClean="0">
                <a:latin typeface="Verdana"/>
                <a:cs typeface="Verdana"/>
              </a:rPr>
              <a:t>30,908</a:t>
            </a:r>
          </a:p>
        </p:txBody>
      </p:sp>
      <p:sp>
        <p:nvSpPr>
          <p:cNvPr id="13" name="TextBox 3"/>
          <p:cNvSpPr txBox="1"/>
          <p:nvPr/>
        </p:nvSpPr>
        <p:spPr>
          <a:xfrm>
            <a:off x="1878375" y="1399882"/>
            <a:ext cx="808828" cy="281354"/>
          </a:xfrm>
          <a:prstGeom prst="rect">
            <a:avLst/>
          </a:prstGeom>
          <a:noFill/>
        </p:spPr>
        <p:txBody>
          <a:bodyPr wrap="none" lIns="0" tIns="0" rIns="0" bIns="0" rtlCol="0">
            <a:noAutofit/>
          </a:bodyPr>
          <a:lstStyle/>
          <a:p>
            <a:pPr algn="ctr"/>
            <a:r>
              <a:rPr lang="en-US" sz="1400" dirty="0" smtClean="0">
                <a:latin typeface="Verdana"/>
                <a:cs typeface="Verdana"/>
              </a:rPr>
              <a:t>Top 6</a:t>
            </a:r>
          </a:p>
        </p:txBody>
      </p:sp>
      <p:sp>
        <p:nvSpPr>
          <p:cNvPr id="14" name="TextBox 25"/>
          <p:cNvSpPr txBox="1"/>
          <p:nvPr/>
        </p:nvSpPr>
        <p:spPr>
          <a:xfrm>
            <a:off x="4446334" y="1411605"/>
            <a:ext cx="808828" cy="281354"/>
          </a:xfrm>
          <a:prstGeom prst="rect">
            <a:avLst/>
          </a:prstGeom>
          <a:noFill/>
        </p:spPr>
        <p:txBody>
          <a:bodyPr wrap="none" lIns="0" tIns="0" rIns="0" bIns="0" rtlCol="0">
            <a:noAutofit/>
          </a:bodyPr>
          <a:lstStyle/>
          <a:p>
            <a:pPr algn="ctr"/>
            <a:r>
              <a:rPr lang="en-US" sz="1400" dirty="0" smtClean="0">
                <a:latin typeface="Verdana"/>
                <a:cs typeface="Verdana"/>
              </a:rPr>
              <a:t>Middle 6</a:t>
            </a:r>
          </a:p>
        </p:txBody>
      </p:sp>
      <p:sp>
        <p:nvSpPr>
          <p:cNvPr id="15" name="TextBox 30"/>
          <p:cNvSpPr txBox="1"/>
          <p:nvPr/>
        </p:nvSpPr>
        <p:spPr>
          <a:xfrm>
            <a:off x="6840542" y="1411607"/>
            <a:ext cx="808828" cy="281354"/>
          </a:xfrm>
          <a:prstGeom prst="rect">
            <a:avLst/>
          </a:prstGeom>
          <a:noFill/>
        </p:spPr>
        <p:txBody>
          <a:bodyPr wrap="none" lIns="0" tIns="0" rIns="0" bIns="0" rtlCol="0">
            <a:noAutofit/>
          </a:bodyPr>
          <a:lstStyle/>
          <a:p>
            <a:pPr algn="ctr"/>
            <a:r>
              <a:rPr lang="en-US" sz="1400" dirty="0" smtClean="0">
                <a:latin typeface="Verdana"/>
                <a:cs typeface="Verdana"/>
              </a:rPr>
              <a:t>Bottom 6</a:t>
            </a:r>
          </a:p>
        </p:txBody>
      </p:sp>
      <p:sp>
        <p:nvSpPr>
          <p:cNvPr id="16" name="McK 5. Source"/>
          <p:cNvSpPr>
            <a:spLocks noChangeArrowheads="1"/>
          </p:cNvSpPr>
          <p:nvPr>
            <p:custDataLst>
              <p:tags r:id="rId1"/>
            </p:custDataLst>
          </p:nvPr>
        </p:nvSpPr>
        <p:spPr bwMode="auto">
          <a:xfrm>
            <a:off x="428291" y="6027912"/>
            <a:ext cx="7604125" cy="12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0713" indent="-620713" defTabSz="912813">
              <a:lnSpc>
                <a:spcPct val="90000"/>
              </a:lnSpc>
              <a:tabLst>
                <a:tab pos="623888" algn="l"/>
              </a:tabLst>
            </a:pPr>
            <a:r>
              <a:rPr lang="en-GB" sz="900" dirty="0">
                <a:solidFill>
                  <a:schemeClr val="folHlink"/>
                </a:solidFill>
                <a:latin typeface="Verdana" pitchFamily="34" charset="0"/>
              </a:rPr>
              <a:t>SOURCE: </a:t>
            </a:r>
            <a:r>
              <a:rPr lang="en-US" sz="900" dirty="0">
                <a:solidFill>
                  <a:schemeClr val="folHlink"/>
                </a:solidFill>
                <a:latin typeface="Verdana" pitchFamily="34" charset="0"/>
              </a:rPr>
              <a:t>Global </a:t>
            </a:r>
            <a:r>
              <a:rPr lang="en-US" sz="900" dirty="0" smtClean="0">
                <a:solidFill>
                  <a:schemeClr val="folHlink"/>
                </a:solidFill>
                <a:latin typeface="Verdana" pitchFamily="34" charset="0"/>
              </a:rPr>
              <a:t>Insight</a:t>
            </a:r>
            <a:endParaRPr lang="en-US" sz="900" dirty="0">
              <a:solidFill>
                <a:schemeClr val="folHlink"/>
              </a:solidFill>
              <a:latin typeface="Verdana" pitchFamily="34" charset="0"/>
            </a:endParaRPr>
          </a:p>
        </p:txBody>
      </p:sp>
    </p:spTree>
    <p:extLst>
      <p:ext uri="{BB962C8B-B14F-4D97-AF65-F5344CB8AC3E}">
        <p14:creationId xmlns:p14="http://schemas.microsoft.com/office/powerpoint/2010/main" xmlns="" val="17720805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125"/>
          <p:cNvSpPr/>
          <p:nvPr/>
        </p:nvSpPr>
        <p:spPr>
          <a:xfrm>
            <a:off x="3949700" y="3416300"/>
            <a:ext cx="5194300" cy="25527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25" name="Rectangle 124"/>
          <p:cNvSpPr/>
          <p:nvPr/>
        </p:nvSpPr>
        <p:spPr>
          <a:xfrm>
            <a:off x="3949700" y="1066800"/>
            <a:ext cx="5194300" cy="25527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3" name="Rectangle 2"/>
          <p:cNvSpPr/>
          <p:nvPr/>
        </p:nvSpPr>
        <p:spPr>
          <a:xfrm>
            <a:off x="0" y="1066800"/>
            <a:ext cx="3949700" cy="48895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grpSp>
        <p:nvGrpSpPr>
          <p:cNvPr id="63" name="Group 6"/>
          <p:cNvGrpSpPr>
            <a:grpSpLocks/>
          </p:cNvGrpSpPr>
          <p:nvPr>
            <p:custDataLst>
              <p:tags r:id="rId1"/>
            </p:custDataLst>
          </p:nvPr>
        </p:nvGrpSpPr>
        <p:grpSpPr bwMode="auto">
          <a:xfrm>
            <a:off x="419738" y="1705379"/>
            <a:ext cx="3139537" cy="3311121"/>
            <a:chOff x="1805" y="1166"/>
            <a:chExt cx="1983" cy="2068"/>
          </a:xfrm>
        </p:grpSpPr>
        <p:sp>
          <p:nvSpPr>
            <p:cNvPr id="64" name="Freeform 7"/>
            <p:cNvSpPr>
              <a:spLocks/>
            </p:cNvSpPr>
            <p:nvPr/>
          </p:nvSpPr>
          <p:spPr bwMode="gray">
            <a:xfrm>
              <a:off x="2997" y="1320"/>
              <a:ext cx="317" cy="281"/>
            </a:xfrm>
            <a:custGeom>
              <a:avLst/>
              <a:gdLst/>
              <a:ahLst/>
              <a:cxnLst>
                <a:cxn ang="0">
                  <a:pos x="10" y="70"/>
                </a:cxn>
                <a:cxn ang="0">
                  <a:pos x="17" y="99"/>
                </a:cxn>
                <a:cxn ang="0">
                  <a:pos x="2" y="130"/>
                </a:cxn>
                <a:cxn ang="0">
                  <a:pos x="10" y="170"/>
                </a:cxn>
                <a:cxn ang="0">
                  <a:pos x="660" y="755"/>
                </a:cxn>
                <a:cxn ang="0">
                  <a:pos x="683" y="765"/>
                </a:cxn>
                <a:cxn ang="0">
                  <a:pos x="710" y="763"/>
                </a:cxn>
                <a:cxn ang="0">
                  <a:pos x="721" y="734"/>
                </a:cxn>
                <a:cxn ang="0">
                  <a:pos x="750" y="729"/>
                </a:cxn>
                <a:cxn ang="0">
                  <a:pos x="771" y="719"/>
                </a:cxn>
                <a:cxn ang="0">
                  <a:pos x="784" y="694"/>
                </a:cxn>
                <a:cxn ang="0">
                  <a:pos x="820" y="664"/>
                </a:cxn>
                <a:cxn ang="0">
                  <a:pos x="838" y="645"/>
                </a:cxn>
                <a:cxn ang="0">
                  <a:pos x="822" y="610"/>
                </a:cxn>
                <a:cxn ang="0">
                  <a:pos x="832" y="591"/>
                </a:cxn>
                <a:cxn ang="0">
                  <a:pos x="826" y="570"/>
                </a:cxn>
                <a:cxn ang="0">
                  <a:pos x="790" y="521"/>
                </a:cxn>
                <a:cxn ang="0">
                  <a:pos x="754" y="467"/>
                </a:cxn>
                <a:cxn ang="0">
                  <a:pos x="731" y="437"/>
                </a:cxn>
                <a:cxn ang="0">
                  <a:pos x="704" y="406"/>
                </a:cxn>
                <a:cxn ang="0">
                  <a:pos x="691" y="370"/>
                </a:cxn>
                <a:cxn ang="0">
                  <a:pos x="670" y="332"/>
                </a:cxn>
                <a:cxn ang="0">
                  <a:pos x="649" y="309"/>
                </a:cxn>
                <a:cxn ang="0">
                  <a:pos x="639" y="282"/>
                </a:cxn>
                <a:cxn ang="0">
                  <a:pos x="613" y="259"/>
                </a:cxn>
                <a:cxn ang="0">
                  <a:pos x="588" y="221"/>
                </a:cxn>
                <a:cxn ang="0">
                  <a:pos x="569" y="174"/>
                </a:cxn>
                <a:cxn ang="0">
                  <a:pos x="555" y="160"/>
                </a:cxn>
                <a:cxn ang="0">
                  <a:pos x="552" y="139"/>
                </a:cxn>
                <a:cxn ang="0">
                  <a:pos x="550" y="132"/>
                </a:cxn>
                <a:cxn ang="0">
                  <a:pos x="586" y="164"/>
                </a:cxn>
                <a:cxn ang="0">
                  <a:pos x="614" y="214"/>
                </a:cxn>
                <a:cxn ang="0">
                  <a:pos x="645" y="250"/>
                </a:cxn>
                <a:cxn ang="0">
                  <a:pos x="679" y="284"/>
                </a:cxn>
                <a:cxn ang="0">
                  <a:pos x="698" y="278"/>
                </a:cxn>
                <a:cxn ang="0">
                  <a:pos x="716" y="250"/>
                </a:cxn>
                <a:cxn ang="0">
                  <a:pos x="716" y="206"/>
                </a:cxn>
                <a:cxn ang="0">
                  <a:pos x="717" y="177"/>
                </a:cxn>
                <a:cxn ang="0">
                  <a:pos x="721" y="156"/>
                </a:cxn>
                <a:cxn ang="0">
                  <a:pos x="708" y="135"/>
                </a:cxn>
                <a:cxn ang="0">
                  <a:pos x="695" y="111"/>
                </a:cxn>
                <a:cxn ang="0">
                  <a:pos x="676" y="70"/>
                </a:cxn>
                <a:cxn ang="0">
                  <a:pos x="656" y="30"/>
                </a:cxn>
                <a:cxn ang="0">
                  <a:pos x="630" y="29"/>
                </a:cxn>
                <a:cxn ang="0">
                  <a:pos x="593" y="36"/>
                </a:cxn>
                <a:cxn ang="0">
                  <a:pos x="555" y="42"/>
                </a:cxn>
                <a:cxn ang="0">
                  <a:pos x="517" y="32"/>
                </a:cxn>
                <a:cxn ang="0">
                  <a:pos x="477" y="9"/>
                </a:cxn>
                <a:cxn ang="0">
                  <a:pos x="441" y="0"/>
                </a:cxn>
                <a:cxn ang="0">
                  <a:pos x="389" y="19"/>
                </a:cxn>
                <a:cxn ang="0">
                  <a:pos x="346" y="51"/>
                </a:cxn>
                <a:cxn ang="0">
                  <a:pos x="290" y="61"/>
                </a:cxn>
                <a:cxn ang="0">
                  <a:pos x="204" y="42"/>
                </a:cxn>
                <a:cxn ang="0">
                  <a:pos x="124" y="19"/>
                </a:cxn>
                <a:cxn ang="0">
                  <a:pos x="69" y="15"/>
                </a:cxn>
                <a:cxn ang="0">
                  <a:pos x="46" y="23"/>
                </a:cxn>
                <a:cxn ang="0">
                  <a:pos x="8" y="30"/>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solidFill>
              <a:schemeClr val="accent3">
                <a:lumMod val="60000"/>
                <a:lumOff val="40000"/>
              </a:schemeClr>
            </a:solidFill>
            <a:ln w="9525" cmpd="sng">
              <a:solidFill>
                <a:schemeClr val="folHlink"/>
              </a:solidFill>
              <a:prstDash val="solid"/>
              <a:round/>
              <a:headEnd/>
              <a:tailEnd/>
            </a:ln>
          </p:spPr>
          <p:txBody>
            <a:bodyPr/>
            <a:lstStyle/>
            <a:p>
              <a:endParaRPr lang="en-US"/>
            </a:p>
          </p:txBody>
        </p:sp>
        <p:sp>
          <p:nvSpPr>
            <p:cNvPr id="65" name="Freeform 8"/>
            <p:cNvSpPr>
              <a:spLocks/>
            </p:cNvSpPr>
            <p:nvPr/>
          </p:nvSpPr>
          <p:spPr bwMode="gray">
            <a:xfrm>
              <a:off x="3516" y="1855"/>
              <a:ext cx="49" cy="52"/>
            </a:xfrm>
            <a:custGeom>
              <a:avLst/>
              <a:gdLst/>
              <a:ahLst/>
              <a:cxnLst>
                <a:cxn ang="0">
                  <a:pos x="103" y="130"/>
                </a:cxn>
                <a:cxn ang="0">
                  <a:pos x="101" y="126"/>
                </a:cxn>
                <a:cxn ang="0">
                  <a:pos x="97" y="122"/>
                </a:cxn>
                <a:cxn ang="0">
                  <a:pos x="94" y="120"/>
                </a:cxn>
                <a:cxn ang="0">
                  <a:pos x="88" y="118"/>
                </a:cxn>
                <a:cxn ang="0">
                  <a:pos x="82" y="120"/>
                </a:cxn>
                <a:cxn ang="0">
                  <a:pos x="69" y="126"/>
                </a:cxn>
                <a:cxn ang="0">
                  <a:pos x="52" y="133"/>
                </a:cxn>
                <a:cxn ang="0">
                  <a:pos x="35" y="139"/>
                </a:cxn>
                <a:cxn ang="0">
                  <a:pos x="0" y="143"/>
                </a:cxn>
                <a:cxn ang="0">
                  <a:pos x="2" y="137"/>
                </a:cxn>
                <a:cxn ang="0">
                  <a:pos x="4" y="122"/>
                </a:cxn>
                <a:cxn ang="0">
                  <a:pos x="2" y="107"/>
                </a:cxn>
                <a:cxn ang="0">
                  <a:pos x="0" y="90"/>
                </a:cxn>
                <a:cxn ang="0">
                  <a:pos x="0" y="82"/>
                </a:cxn>
                <a:cxn ang="0">
                  <a:pos x="2" y="69"/>
                </a:cxn>
                <a:cxn ang="0">
                  <a:pos x="10" y="55"/>
                </a:cxn>
                <a:cxn ang="0">
                  <a:pos x="19" y="44"/>
                </a:cxn>
                <a:cxn ang="0">
                  <a:pos x="33" y="32"/>
                </a:cxn>
                <a:cxn ang="0">
                  <a:pos x="46" y="21"/>
                </a:cxn>
                <a:cxn ang="0">
                  <a:pos x="61" y="13"/>
                </a:cxn>
                <a:cxn ang="0">
                  <a:pos x="75" y="6"/>
                </a:cxn>
                <a:cxn ang="0">
                  <a:pos x="86" y="0"/>
                </a:cxn>
                <a:cxn ang="0">
                  <a:pos x="94" y="0"/>
                </a:cxn>
                <a:cxn ang="0">
                  <a:pos x="107" y="9"/>
                </a:cxn>
                <a:cxn ang="0">
                  <a:pos x="118" y="21"/>
                </a:cxn>
                <a:cxn ang="0">
                  <a:pos x="126" y="34"/>
                </a:cxn>
                <a:cxn ang="0">
                  <a:pos x="128" y="42"/>
                </a:cxn>
                <a:cxn ang="0">
                  <a:pos x="120" y="53"/>
                </a:cxn>
                <a:cxn ang="0">
                  <a:pos x="103" y="67"/>
                </a:cxn>
                <a:cxn ang="0">
                  <a:pos x="84" y="82"/>
                </a:cxn>
                <a:cxn ang="0">
                  <a:pos x="71" y="92"/>
                </a:cxn>
                <a:cxn ang="0">
                  <a:pos x="77" y="92"/>
                </a:cxn>
                <a:cxn ang="0">
                  <a:pos x="90" y="93"/>
                </a:cxn>
                <a:cxn ang="0">
                  <a:pos x="103" y="95"/>
                </a:cxn>
                <a:cxn ang="0">
                  <a:pos x="115" y="97"/>
                </a:cxn>
                <a:cxn ang="0">
                  <a:pos x="118" y="97"/>
                </a:cxn>
                <a:cxn ang="0">
                  <a:pos x="117" y="107"/>
                </a:cxn>
                <a:cxn ang="0">
                  <a:pos x="113" y="113"/>
                </a:cxn>
                <a:cxn ang="0">
                  <a:pos x="107" y="118"/>
                </a:cxn>
                <a:cxn ang="0">
                  <a:pos x="101" y="122"/>
                </a:cxn>
                <a:cxn ang="0">
                  <a:pos x="103" y="130"/>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solidFill>
              <a:schemeClr val="bg1">
                <a:lumMod val="95000"/>
              </a:schemeClr>
            </a:solidFill>
            <a:ln w="9525" cmpd="sng">
              <a:solidFill>
                <a:schemeClr val="folHlink"/>
              </a:solidFill>
              <a:prstDash val="solid"/>
              <a:round/>
              <a:headEnd/>
              <a:tailEnd/>
            </a:ln>
          </p:spPr>
          <p:txBody>
            <a:bodyPr/>
            <a:lstStyle/>
            <a:p>
              <a:endParaRPr lang="en-US"/>
            </a:p>
          </p:txBody>
        </p:sp>
        <p:sp>
          <p:nvSpPr>
            <p:cNvPr id="66" name="Freeform 9"/>
            <p:cNvSpPr>
              <a:spLocks/>
            </p:cNvSpPr>
            <p:nvPr/>
          </p:nvSpPr>
          <p:spPr bwMode="gray">
            <a:xfrm>
              <a:off x="3507" y="1861"/>
              <a:ext cx="281" cy="422"/>
            </a:xfrm>
            <a:custGeom>
              <a:avLst/>
              <a:gdLst/>
              <a:ahLst/>
              <a:cxnLst>
                <a:cxn ang="0">
                  <a:pos x="54" y="723"/>
                </a:cxn>
                <a:cxn ang="0">
                  <a:pos x="29" y="763"/>
                </a:cxn>
                <a:cxn ang="0">
                  <a:pos x="0" y="788"/>
                </a:cxn>
                <a:cxn ang="0">
                  <a:pos x="60" y="1147"/>
                </a:cxn>
                <a:cxn ang="0">
                  <a:pos x="81" y="1122"/>
                </a:cxn>
                <a:cxn ang="0">
                  <a:pos x="104" y="1080"/>
                </a:cxn>
                <a:cxn ang="0">
                  <a:pos x="138" y="1048"/>
                </a:cxn>
                <a:cxn ang="0">
                  <a:pos x="168" y="1013"/>
                </a:cxn>
                <a:cxn ang="0">
                  <a:pos x="218" y="962"/>
                </a:cxn>
                <a:cxn ang="0">
                  <a:pos x="271" y="914"/>
                </a:cxn>
                <a:cxn ang="0">
                  <a:pos x="329" y="866"/>
                </a:cxn>
                <a:cxn ang="0">
                  <a:pos x="384" y="819"/>
                </a:cxn>
                <a:cxn ang="0">
                  <a:pos x="434" y="767"/>
                </a:cxn>
                <a:cxn ang="0">
                  <a:pos x="472" y="727"/>
                </a:cxn>
                <a:cxn ang="0">
                  <a:pos x="508" y="685"/>
                </a:cxn>
                <a:cxn ang="0">
                  <a:pos x="550" y="622"/>
                </a:cxn>
                <a:cxn ang="0">
                  <a:pos x="590" y="555"/>
                </a:cxn>
                <a:cxn ang="0">
                  <a:pos x="607" y="508"/>
                </a:cxn>
                <a:cxn ang="0">
                  <a:pos x="619" y="468"/>
                </a:cxn>
                <a:cxn ang="0">
                  <a:pos x="632" y="429"/>
                </a:cxn>
                <a:cxn ang="0">
                  <a:pos x="651" y="389"/>
                </a:cxn>
                <a:cxn ang="0">
                  <a:pos x="680" y="334"/>
                </a:cxn>
                <a:cxn ang="0">
                  <a:pos x="704" y="283"/>
                </a:cxn>
                <a:cxn ang="0">
                  <a:pos x="718" y="250"/>
                </a:cxn>
                <a:cxn ang="0">
                  <a:pos x="729" y="218"/>
                </a:cxn>
                <a:cxn ang="0">
                  <a:pos x="731" y="174"/>
                </a:cxn>
                <a:cxn ang="0">
                  <a:pos x="737" y="138"/>
                </a:cxn>
                <a:cxn ang="0">
                  <a:pos x="750" y="122"/>
                </a:cxn>
                <a:cxn ang="0">
                  <a:pos x="744" y="88"/>
                </a:cxn>
                <a:cxn ang="0">
                  <a:pos x="741" y="54"/>
                </a:cxn>
                <a:cxn ang="0">
                  <a:pos x="743" y="31"/>
                </a:cxn>
                <a:cxn ang="0">
                  <a:pos x="750" y="0"/>
                </a:cxn>
                <a:cxn ang="0">
                  <a:pos x="737" y="0"/>
                </a:cxn>
                <a:cxn ang="0">
                  <a:pos x="710" y="4"/>
                </a:cxn>
                <a:cxn ang="0">
                  <a:pos x="687" y="25"/>
                </a:cxn>
                <a:cxn ang="0">
                  <a:pos x="664" y="46"/>
                </a:cxn>
                <a:cxn ang="0">
                  <a:pos x="611" y="59"/>
                </a:cxn>
                <a:cxn ang="0">
                  <a:pos x="540" y="67"/>
                </a:cxn>
                <a:cxn ang="0">
                  <a:pos x="464" y="84"/>
                </a:cxn>
                <a:cxn ang="0">
                  <a:pos x="441" y="98"/>
                </a:cxn>
                <a:cxn ang="0">
                  <a:pos x="414" y="118"/>
                </a:cxn>
                <a:cxn ang="0">
                  <a:pos x="386" y="128"/>
                </a:cxn>
                <a:cxn ang="0">
                  <a:pos x="355" y="120"/>
                </a:cxn>
                <a:cxn ang="0">
                  <a:pos x="325" y="122"/>
                </a:cxn>
                <a:cxn ang="0">
                  <a:pos x="294" y="145"/>
                </a:cxn>
                <a:cxn ang="0">
                  <a:pos x="254" y="162"/>
                </a:cxn>
                <a:cxn ang="0">
                  <a:pos x="212" y="153"/>
                </a:cxn>
                <a:cxn ang="0">
                  <a:pos x="176" y="118"/>
                </a:cxn>
                <a:cxn ang="0">
                  <a:pos x="145" y="82"/>
                </a:cxn>
                <a:cxn ang="0">
                  <a:pos x="138" y="101"/>
                </a:cxn>
                <a:cxn ang="0">
                  <a:pos x="119" y="117"/>
                </a:cxn>
                <a:cxn ang="0">
                  <a:pos x="98" y="155"/>
                </a:cxn>
                <a:cxn ang="0">
                  <a:pos x="117" y="174"/>
                </a:cxn>
                <a:cxn ang="0">
                  <a:pos x="136" y="199"/>
                </a:cxn>
                <a:cxn ang="0">
                  <a:pos x="165" y="241"/>
                </a:cxn>
                <a:cxn ang="0">
                  <a:pos x="201" y="273"/>
                </a:cxn>
                <a:cxn ang="0">
                  <a:pos x="304" y="611"/>
                </a:cxn>
                <a:cxn ang="0">
                  <a:pos x="184" y="635"/>
                </a:cxn>
                <a:cxn ang="0">
                  <a:pos x="130" y="670"/>
                </a:cxn>
                <a:cxn ang="0">
                  <a:pos x="69" y="693"/>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solidFill>
              <a:srgbClr val="FFC000"/>
            </a:solidFill>
            <a:ln w="9525" cmpd="sng">
              <a:solidFill>
                <a:schemeClr val="folHlink"/>
              </a:solidFill>
              <a:prstDash val="solid"/>
              <a:round/>
              <a:headEnd/>
              <a:tailEnd/>
            </a:ln>
          </p:spPr>
          <p:txBody>
            <a:bodyPr/>
            <a:lstStyle/>
            <a:p>
              <a:endParaRPr lang="en-US"/>
            </a:p>
          </p:txBody>
        </p:sp>
        <p:sp>
          <p:nvSpPr>
            <p:cNvPr id="67" name="Freeform 10"/>
            <p:cNvSpPr>
              <a:spLocks/>
            </p:cNvSpPr>
            <p:nvPr/>
          </p:nvSpPr>
          <p:spPr bwMode="gray">
            <a:xfrm>
              <a:off x="3300" y="2093"/>
              <a:ext cx="228" cy="281"/>
            </a:xfrm>
            <a:custGeom>
              <a:avLst/>
              <a:gdLst/>
              <a:ahLst/>
              <a:cxnLst>
                <a:cxn ang="0">
                  <a:pos x="4" y="471"/>
                </a:cxn>
                <a:cxn ang="0">
                  <a:pos x="10" y="447"/>
                </a:cxn>
                <a:cxn ang="0">
                  <a:pos x="21" y="431"/>
                </a:cxn>
                <a:cxn ang="0">
                  <a:pos x="42" y="428"/>
                </a:cxn>
                <a:cxn ang="0">
                  <a:pos x="63" y="416"/>
                </a:cxn>
                <a:cxn ang="0">
                  <a:pos x="46" y="410"/>
                </a:cxn>
                <a:cxn ang="0">
                  <a:pos x="13" y="410"/>
                </a:cxn>
                <a:cxn ang="0">
                  <a:pos x="2" y="401"/>
                </a:cxn>
                <a:cxn ang="0">
                  <a:pos x="4" y="387"/>
                </a:cxn>
                <a:cxn ang="0">
                  <a:pos x="10" y="368"/>
                </a:cxn>
                <a:cxn ang="0">
                  <a:pos x="33" y="334"/>
                </a:cxn>
                <a:cxn ang="0">
                  <a:pos x="57" y="304"/>
                </a:cxn>
                <a:cxn ang="0">
                  <a:pos x="78" y="269"/>
                </a:cxn>
                <a:cxn ang="0">
                  <a:pos x="84" y="237"/>
                </a:cxn>
                <a:cxn ang="0">
                  <a:pos x="75" y="181"/>
                </a:cxn>
                <a:cxn ang="0">
                  <a:pos x="54" y="132"/>
                </a:cxn>
                <a:cxn ang="0">
                  <a:pos x="27" y="88"/>
                </a:cxn>
                <a:cxn ang="0">
                  <a:pos x="4" y="44"/>
                </a:cxn>
                <a:cxn ang="0">
                  <a:pos x="15" y="33"/>
                </a:cxn>
                <a:cxn ang="0">
                  <a:pos x="25" y="19"/>
                </a:cxn>
                <a:cxn ang="0">
                  <a:pos x="139" y="0"/>
                </a:cxn>
                <a:cxn ang="0">
                  <a:pos x="141" y="8"/>
                </a:cxn>
                <a:cxn ang="0">
                  <a:pos x="145" y="17"/>
                </a:cxn>
                <a:cxn ang="0">
                  <a:pos x="170" y="27"/>
                </a:cxn>
                <a:cxn ang="0">
                  <a:pos x="212" y="42"/>
                </a:cxn>
                <a:cxn ang="0">
                  <a:pos x="250" y="56"/>
                </a:cxn>
                <a:cxn ang="0">
                  <a:pos x="288" y="77"/>
                </a:cxn>
                <a:cxn ang="0">
                  <a:pos x="366" y="92"/>
                </a:cxn>
                <a:cxn ang="0">
                  <a:pos x="391" y="101"/>
                </a:cxn>
                <a:cxn ang="0">
                  <a:pos x="422" y="107"/>
                </a:cxn>
                <a:cxn ang="0">
                  <a:pos x="441" y="99"/>
                </a:cxn>
                <a:cxn ang="0">
                  <a:pos x="464" y="78"/>
                </a:cxn>
                <a:cxn ang="0">
                  <a:pos x="487" y="52"/>
                </a:cxn>
                <a:cxn ang="0">
                  <a:pos x="513" y="36"/>
                </a:cxn>
                <a:cxn ang="0">
                  <a:pos x="536" y="40"/>
                </a:cxn>
                <a:cxn ang="0">
                  <a:pos x="553" y="56"/>
                </a:cxn>
                <a:cxn ang="0">
                  <a:pos x="572" y="59"/>
                </a:cxn>
                <a:cxn ang="0">
                  <a:pos x="593" y="57"/>
                </a:cxn>
                <a:cxn ang="0">
                  <a:pos x="609" y="54"/>
                </a:cxn>
                <a:cxn ang="0">
                  <a:pos x="603" y="82"/>
                </a:cxn>
                <a:cxn ang="0">
                  <a:pos x="588" y="109"/>
                </a:cxn>
                <a:cxn ang="0">
                  <a:pos x="569" y="132"/>
                </a:cxn>
                <a:cxn ang="0">
                  <a:pos x="549" y="147"/>
                </a:cxn>
                <a:cxn ang="0">
                  <a:pos x="597" y="523"/>
                </a:cxn>
                <a:cxn ang="0">
                  <a:pos x="586" y="540"/>
                </a:cxn>
                <a:cxn ang="0">
                  <a:pos x="567" y="561"/>
                </a:cxn>
                <a:cxn ang="0">
                  <a:pos x="548" y="580"/>
                </a:cxn>
                <a:cxn ang="0">
                  <a:pos x="538" y="588"/>
                </a:cxn>
                <a:cxn ang="0">
                  <a:pos x="509" y="605"/>
                </a:cxn>
                <a:cxn ang="0">
                  <a:pos x="490" y="637"/>
                </a:cxn>
                <a:cxn ang="0">
                  <a:pos x="485" y="664"/>
                </a:cxn>
                <a:cxn ang="0">
                  <a:pos x="466" y="702"/>
                </a:cxn>
                <a:cxn ang="0">
                  <a:pos x="441" y="739"/>
                </a:cxn>
                <a:cxn ang="0">
                  <a:pos x="416" y="767"/>
                </a:cxn>
                <a:cxn ang="0">
                  <a:pos x="288" y="672"/>
                </a:cxn>
                <a:cxn ang="0">
                  <a:pos x="292" y="655"/>
                </a:cxn>
                <a:cxn ang="0">
                  <a:pos x="6" y="479"/>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solidFill>
              <a:srgbClr val="FFC000"/>
            </a:solidFill>
            <a:ln w="9525" cmpd="sng">
              <a:solidFill>
                <a:schemeClr val="folHlink"/>
              </a:solidFill>
              <a:prstDash val="solid"/>
              <a:round/>
              <a:headEnd/>
              <a:tailEnd/>
            </a:ln>
          </p:spPr>
          <p:txBody>
            <a:bodyPr/>
            <a:lstStyle/>
            <a:p>
              <a:endParaRPr lang="en-US"/>
            </a:p>
          </p:txBody>
        </p:sp>
        <p:sp>
          <p:nvSpPr>
            <p:cNvPr id="68" name="Freeform 11"/>
            <p:cNvSpPr>
              <a:spLocks/>
            </p:cNvSpPr>
            <p:nvPr/>
          </p:nvSpPr>
          <p:spPr bwMode="gray">
            <a:xfrm>
              <a:off x="3146" y="2273"/>
              <a:ext cx="62" cy="50"/>
            </a:xfrm>
            <a:custGeom>
              <a:avLst/>
              <a:gdLst/>
              <a:ahLst/>
              <a:cxnLst>
                <a:cxn ang="0">
                  <a:pos x="124" y="100"/>
                </a:cxn>
                <a:cxn ang="0">
                  <a:pos x="126" y="100"/>
                </a:cxn>
                <a:cxn ang="0">
                  <a:pos x="132" y="100"/>
                </a:cxn>
                <a:cxn ang="0">
                  <a:pos x="137" y="100"/>
                </a:cxn>
                <a:cxn ang="0">
                  <a:pos x="145" y="100"/>
                </a:cxn>
                <a:cxn ang="0">
                  <a:pos x="151" y="100"/>
                </a:cxn>
                <a:cxn ang="0">
                  <a:pos x="156" y="96"/>
                </a:cxn>
                <a:cxn ang="0">
                  <a:pos x="162" y="88"/>
                </a:cxn>
                <a:cxn ang="0">
                  <a:pos x="164" y="77"/>
                </a:cxn>
                <a:cxn ang="0">
                  <a:pos x="164" y="71"/>
                </a:cxn>
                <a:cxn ang="0">
                  <a:pos x="162" y="65"/>
                </a:cxn>
                <a:cxn ang="0">
                  <a:pos x="158" y="61"/>
                </a:cxn>
                <a:cxn ang="0">
                  <a:pos x="155" y="56"/>
                </a:cxn>
                <a:cxn ang="0">
                  <a:pos x="153" y="48"/>
                </a:cxn>
                <a:cxn ang="0">
                  <a:pos x="153" y="40"/>
                </a:cxn>
                <a:cxn ang="0">
                  <a:pos x="147" y="27"/>
                </a:cxn>
                <a:cxn ang="0">
                  <a:pos x="139" y="17"/>
                </a:cxn>
                <a:cxn ang="0">
                  <a:pos x="132" y="6"/>
                </a:cxn>
                <a:cxn ang="0">
                  <a:pos x="128" y="0"/>
                </a:cxn>
                <a:cxn ang="0">
                  <a:pos x="116" y="6"/>
                </a:cxn>
                <a:cxn ang="0">
                  <a:pos x="109" y="14"/>
                </a:cxn>
                <a:cxn ang="0">
                  <a:pos x="99" y="19"/>
                </a:cxn>
                <a:cxn ang="0">
                  <a:pos x="86" y="23"/>
                </a:cxn>
                <a:cxn ang="0">
                  <a:pos x="84" y="23"/>
                </a:cxn>
                <a:cxn ang="0">
                  <a:pos x="78" y="17"/>
                </a:cxn>
                <a:cxn ang="0">
                  <a:pos x="74" y="17"/>
                </a:cxn>
                <a:cxn ang="0">
                  <a:pos x="57" y="21"/>
                </a:cxn>
                <a:cxn ang="0">
                  <a:pos x="42" y="33"/>
                </a:cxn>
                <a:cxn ang="0">
                  <a:pos x="29" y="46"/>
                </a:cxn>
                <a:cxn ang="0">
                  <a:pos x="25" y="61"/>
                </a:cxn>
                <a:cxn ang="0">
                  <a:pos x="25" y="65"/>
                </a:cxn>
                <a:cxn ang="0">
                  <a:pos x="27" y="71"/>
                </a:cxn>
                <a:cxn ang="0">
                  <a:pos x="27" y="77"/>
                </a:cxn>
                <a:cxn ang="0">
                  <a:pos x="25" y="82"/>
                </a:cxn>
                <a:cxn ang="0">
                  <a:pos x="23" y="84"/>
                </a:cxn>
                <a:cxn ang="0">
                  <a:pos x="15" y="88"/>
                </a:cxn>
                <a:cxn ang="0">
                  <a:pos x="8" y="92"/>
                </a:cxn>
                <a:cxn ang="0">
                  <a:pos x="4" y="100"/>
                </a:cxn>
                <a:cxn ang="0">
                  <a:pos x="0" y="111"/>
                </a:cxn>
                <a:cxn ang="0">
                  <a:pos x="2" y="115"/>
                </a:cxn>
                <a:cxn ang="0">
                  <a:pos x="4" y="121"/>
                </a:cxn>
                <a:cxn ang="0">
                  <a:pos x="6" y="124"/>
                </a:cxn>
                <a:cxn ang="0">
                  <a:pos x="10" y="130"/>
                </a:cxn>
                <a:cxn ang="0">
                  <a:pos x="11" y="132"/>
                </a:cxn>
                <a:cxn ang="0">
                  <a:pos x="11" y="130"/>
                </a:cxn>
                <a:cxn ang="0">
                  <a:pos x="13" y="126"/>
                </a:cxn>
                <a:cxn ang="0">
                  <a:pos x="17" y="122"/>
                </a:cxn>
                <a:cxn ang="0">
                  <a:pos x="23" y="121"/>
                </a:cxn>
                <a:cxn ang="0">
                  <a:pos x="25" y="121"/>
                </a:cxn>
                <a:cxn ang="0">
                  <a:pos x="34" y="122"/>
                </a:cxn>
                <a:cxn ang="0">
                  <a:pos x="40" y="128"/>
                </a:cxn>
                <a:cxn ang="0">
                  <a:pos x="48" y="134"/>
                </a:cxn>
                <a:cxn ang="0">
                  <a:pos x="57" y="136"/>
                </a:cxn>
                <a:cxn ang="0">
                  <a:pos x="69" y="136"/>
                </a:cxn>
                <a:cxn ang="0">
                  <a:pos x="84" y="124"/>
                </a:cxn>
                <a:cxn ang="0">
                  <a:pos x="93" y="109"/>
                </a:cxn>
                <a:cxn ang="0">
                  <a:pos x="107" y="98"/>
                </a:cxn>
                <a:cxn ang="0">
                  <a:pos x="118" y="96"/>
                </a:cxn>
                <a:cxn ang="0">
                  <a:pos x="124" y="98"/>
                </a:cxn>
                <a:cxn ang="0">
                  <a:pos x="128" y="100"/>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solidFill>
              <a:srgbClr val="FFC000"/>
            </a:solidFill>
            <a:ln w="9525" cmpd="sng">
              <a:solidFill>
                <a:schemeClr val="folHlink"/>
              </a:solidFill>
              <a:prstDash val="solid"/>
              <a:round/>
              <a:headEnd/>
              <a:tailEnd/>
            </a:ln>
          </p:spPr>
          <p:txBody>
            <a:bodyPr/>
            <a:lstStyle/>
            <a:p>
              <a:endParaRPr lang="en-US"/>
            </a:p>
          </p:txBody>
        </p:sp>
        <p:sp>
          <p:nvSpPr>
            <p:cNvPr id="69" name="Freeform 12"/>
            <p:cNvSpPr>
              <a:spLocks/>
            </p:cNvSpPr>
            <p:nvPr/>
          </p:nvSpPr>
          <p:spPr bwMode="gray">
            <a:xfrm>
              <a:off x="3170" y="2266"/>
              <a:ext cx="310" cy="309"/>
            </a:xfrm>
            <a:custGeom>
              <a:avLst/>
              <a:gdLst/>
              <a:ahLst/>
              <a:cxnLst>
                <a:cxn ang="0">
                  <a:pos x="641" y="178"/>
                </a:cxn>
                <a:cxn ang="0">
                  <a:pos x="341" y="14"/>
                </a:cxn>
                <a:cxn ang="0">
                  <a:pos x="320" y="52"/>
                </a:cxn>
                <a:cxn ang="0">
                  <a:pos x="294" y="82"/>
                </a:cxn>
                <a:cxn ang="0">
                  <a:pos x="319" y="113"/>
                </a:cxn>
                <a:cxn ang="0">
                  <a:pos x="292" y="126"/>
                </a:cxn>
                <a:cxn ang="0">
                  <a:pos x="277" y="119"/>
                </a:cxn>
                <a:cxn ang="0">
                  <a:pos x="256" y="130"/>
                </a:cxn>
                <a:cxn ang="0">
                  <a:pos x="217" y="113"/>
                </a:cxn>
                <a:cxn ang="0">
                  <a:pos x="185" y="134"/>
                </a:cxn>
                <a:cxn ang="0">
                  <a:pos x="179" y="126"/>
                </a:cxn>
                <a:cxn ang="0">
                  <a:pos x="179" y="107"/>
                </a:cxn>
                <a:cxn ang="0">
                  <a:pos x="168" y="86"/>
                </a:cxn>
                <a:cxn ang="0">
                  <a:pos x="183" y="38"/>
                </a:cxn>
                <a:cxn ang="0">
                  <a:pos x="181" y="10"/>
                </a:cxn>
                <a:cxn ang="0">
                  <a:pos x="65" y="21"/>
                </a:cxn>
                <a:cxn ang="0">
                  <a:pos x="90" y="69"/>
                </a:cxn>
                <a:cxn ang="0">
                  <a:pos x="101" y="92"/>
                </a:cxn>
                <a:cxn ang="0">
                  <a:pos x="82" y="121"/>
                </a:cxn>
                <a:cxn ang="0">
                  <a:pos x="61" y="121"/>
                </a:cxn>
                <a:cxn ang="0">
                  <a:pos x="84" y="168"/>
                </a:cxn>
                <a:cxn ang="0">
                  <a:pos x="93" y="174"/>
                </a:cxn>
                <a:cxn ang="0">
                  <a:pos x="69" y="214"/>
                </a:cxn>
                <a:cxn ang="0">
                  <a:pos x="30" y="275"/>
                </a:cxn>
                <a:cxn ang="0">
                  <a:pos x="0" y="286"/>
                </a:cxn>
                <a:cxn ang="0">
                  <a:pos x="11" y="332"/>
                </a:cxn>
                <a:cxn ang="0">
                  <a:pos x="27" y="388"/>
                </a:cxn>
                <a:cxn ang="0">
                  <a:pos x="11" y="424"/>
                </a:cxn>
                <a:cxn ang="0">
                  <a:pos x="48" y="454"/>
                </a:cxn>
                <a:cxn ang="0">
                  <a:pos x="76" y="517"/>
                </a:cxn>
                <a:cxn ang="0">
                  <a:pos x="103" y="582"/>
                </a:cxn>
                <a:cxn ang="0">
                  <a:pos x="126" y="624"/>
                </a:cxn>
                <a:cxn ang="0">
                  <a:pos x="141" y="622"/>
                </a:cxn>
                <a:cxn ang="0">
                  <a:pos x="162" y="639"/>
                </a:cxn>
                <a:cxn ang="0">
                  <a:pos x="219" y="660"/>
                </a:cxn>
                <a:cxn ang="0">
                  <a:pos x="278" y="689"/>
                </a:cxn>
                <a:cxn ang="0">
                  <a:pos x="334" y="691"/>
                </a:cxn>
                <a:cxn ang="0">
                  <a:pos x="370" y="725"/>
                </a:cxn>
                <a:cxn ang="0">
                  <a:pos x="385" y="805"/>
                </a:cxn>
                <a:cxn ang="0">
                  <a:pos x="391" y="836"/>
                </a:cxn>
                <a:cxn ang="0">
                  <a:pos x="420" y="842"/>
                </a:cxn>
                <a:cxn ang="0">
                  <a:pos x="462" y="828"/>
                </a:cxn>
                <a:cxn ang="0">
                  <a:pos x="494" y="836"/>
                </a:cxn>
                <a:cxn ang="0">
                  <a:pos x="540" y="847"/>
                </a:cxn>
                <a:cxn ang="0">
                  <a:pos x="595" y="842"/>
                </a:cxn>
                <a:cxn ang="0">
                  <a:pos x="641" y="819"/>
                </a:cxn>
                <a:cxn ang="0">
                  <a:pos x="675" y="817"/>
                </a:cxn>
                <a:cxn ang="0">
                  <a:pos x="742" y="803"/>
                </a:cxn>
                <a:cxn ang="0">
                  <a:pos x="822" y="750"/>
                </a:cxn>
                <a:cxn ang="0">
                  <a:pos x="795" y="721"/>
                </a:cxn>
                <a:cxn ang="0">
                  <a:pos x="782" y="670"/>
                </a:cxn>
                <a:cxn ang="0">
                  <a:pos x="761" y="605"/>
                </a:cxn>
                <a:cxn ang="0">
                  <a:pos x="771" y="565"/>
                </a:cxn>
                <a:cxn ang="0">
                  <a:pos x="761" y="531"/>
                </a:cxn>
                <a:cxn ang="0">
                  <a:pos x="782" y="493"/>
                </a:cxn>
                <a:cxn ang="0">
                  <a:pos x="782" y="479"/>
                </a:cxn>
                <a:cxn ang="0">
                  <a:pos x="750" y="451"/>
                </a:cxn>
                <a:cxn ang="0">
                  <a:pos x="727" y="410"/>
                </a:cxn>
                <a:cxn ang="0">
                  <a:pos x="746" y="348"/>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solidFill>
              <a:srgbClr val="FFC000"/>
            </a:solidFill>
            <a:ln w="9525" cmpd="sng">
              <a:solidFill>
                <a:schemeClr val="folHlink"/>
              </a:solidFill>
              <a:prstDash val="solid"/>
              <a:round/>
              <a:headEnd/>
              <a:tailEnd/>
            </a:ln>
          </p:spPr>
          <p:txBody>
            <a:bodyPr/>
            <a:lstStyle/>
            <a:p>
              <a:endParaRPr lang="en-US"/>
            </a:p>
          </p:txBody>
        </p:sp>
        <p:sp>
          <p:nvSpPr>
            <p:cNvPr id="70" name="Freeform 13"/>
            <p:cNvSpPr>
              <a:spLocks/>
            </p:cNvSpPr>
            <p:nvPr/>
          </p:nvSpPr>
          <p:spPr bwMode="gray">
            <a:xfrm>
              <a:off x="3533" y="2589"/>
              <a:ext cx="227" cy="399"/>
            </a:xfrm>
            <a:custGeom>
              <a:avLst/>
              <a:gdLst/>
              <a:ahLst/>
              <a:cxnLst>
                <a:cxn ang="0">
                  <a:pos x="23" y="758"/>
                </a:cxn>
                <a:cxn ang="0">
                  <a:pos x="84" y="693"/>
                </a:cxn>
                <a:cxn ang="0">
                  <a:pos x="118" y="605"/>
                </a:cxn>
                <a:cxn ang="0">
                  <a:pos x="115" y="563"/>
                </a:cxn>
                <a:cxn ang="0">
                  <a:pos x="107" y="514"/>
                </a:cxn>
                <a:cxn ang="0">
                  <a:pos x="103" y="470"/>
                </a:cxn>
                <a:cxn ang="0">
                  <a:pos x="122" y="422"/>
                </a:cxn>
                <a:cxn ang="0">
                  <a:pos x="139" y="388"/>
                </a:cxn>
                <a:cxn ang="0">
                  <a:pos x="156" y="355"/>
                </a:cxn>
                <a:cxn ang="0">
                  <a:pos x="200" y="330"/>
                </a:cxn>
                <a:cxn ang="0">
                  <a:pos x="242" y="317"/>
                </a:cxn>
                <a:cxn ang="0">
                  <a:pos x="280" y="306"/>
                </a:cxn>
                <a:cxn ang="0">
                  <a:pos x="313" y="285"/>
                </a:cxn>
                <a:cxn ang="0">
                  <a:pos x="340" y="260"/>
                </a:cxn>
                <a:cxn ang="0">
                  <a:pos x="370" y="241"/>
                </a:cxn>
                <a:cxn ang="0">
                  <a:pos x="408" y="212"/>
                </a:cxn>
                <a:cxn ang="0">
                  <a:pos x="420" y="187"/>
                </a:cxn>
                <a:cxn ang="0">
                  <a:pos x="431" y="164"/>
                </a:cxn>
                <a:cxn ang="0">
                  <a:pos x="446" y="143"/>
                </a:cxn>
                <a:cxn ang="0">
                  <a:pos x="490" y="115"/>
                </a:cxn>
                <a:cxn ang="0">
                  <a:pos x="507" y="77"/>
                </a:cxn>
                <a:cxn ang="0">
                  <a:pos x="506" y="42"/>
                </a:cxn>
                <a:cxn ang="0">
                  <a:pos x="538" y="8"/>
                </a:cxn>
                <a:cxn ang="0">
                  <a:pos x="555" y="21"/>
                </a:cxn>
                <a:cxn ang="0">
                  <a:pos x="570" y="69"/>
                </a:cxn>
                <a:cxn ang="0">
                  <a:pos x="586" y="122"/>
                </a:cxn>
                <a:cxn ang="0">
                  <a:pos x="597" y="178"/>
                </a:cxn>
                <a:cxn ang="0">
                  <a:pos x="603" y="233"/>
                </a:cxn>
                <a:cxn ang="0">
                  <a:pos x="605" y="281"/>
                </a:cxn>
                <a:cxn ang="0">
                  <a:pos x="590" y="317"/>
                </a:cxn>
                <a:cxn ang="0">
                  <a:pos x="570" y="306"/>
                </a:cxn>
                <a:cxn ang="0">
                  <a:pos x="559" y="290"/>
                </a:cxn>
                <a:cxn ang="0">
                  <a:pos x="549" y="317"/>
                </a:cxn>
                <a:cxn ang="0">
                  <a:pos x="553" y="349"/>
                </a:cxn>
                <a:cxn ang="0">
                  <a:pos x="551" y="380"/>
                </a:cxn>
                <a:cxn ang="0">
                  <a:pos x="527" y="414"/>
                </a:cxn>
                <a:cxn ang="0">
                  <a:pos x="513" y="447"/>
                </a:cxn>
                <a:cxn ang="0">
                  <a:pos x="506" y="485"/>
                </a:cxn>
                <a:cxn ang="0">
                  <a:pos x="496" y="527"/>
                </a:cxn>
                <a:cxn ang="0">
                  <a:pos x="467" y="594"/>
                </a:cxn>
                <a:cxn ang="0">
                  <a:pos x="424" y="674"/>
                </a:cxn>
                <a:cxn ang="0">
                  <a:pos x="393" y="741"/>
                </a:cxn>
                <a:cxn ang="0">
                  <a:pos x="368" y="798"/>
                </a:cxn>
                <a:cxn ang="0">
                  <a:pos x="343" y="847"/>
                </a:cxn>
                <a:cxn ang="0">
                  <a:pos x="322" y="895"/>
                </a:cxn>
                <a:cxn ang="0">
                  <a:pos x="298" y="969"/>
                </a:cxn>
                <a:cxn ang="0">
                  <a:pos x="261" y="1034"/>
                </a:cxn>
                <a:cxn ang="0">
                  <a:pos x="223" y="1063"/>
                </a:cxn>
                <a:cxn ang="0">
                  <a:pos x="187" y="1067"/>
                </a:cxn>
                <a:cxn ang="0">
                  <a:pos x="166" y="1076"/>
                </a:cxn>
                <a:cxn ang="0">
                  <a:pos x="141" y="1088"/>
                </a:cxn>
                <a:cxn ang="0">
                  <a:pos x="116" y="1093"/>
                </a:cxn>
                <a:cxn ang="0">
                  <a:pos x="59" y="1069"/>
                </a:cxn>
                <a:cxn ang="0">
                  <a:pos x="17" y="1013"/>
                </a:cxn>
                <a:cxn ang="0">
                  <a:pos x="8" y="966"/>
                </a:cxn>
                <a:cxn ang="0">
                  <a:pos x="27" y="931"/>
                </a:cxn>
                <a:cxn ang="0">
                  <a:pos x="23" y="903"/>
                </a:cxn>
                <a:cxn ang="0">
                  <a:pos x="10" y="874"/>
                </a:cxn>
                <a:cxn ang="0">
                  <a:pos x="0" y="840"/>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solidFill>
              <a:srgbClr val="FF0000"/>
            </a:solidFill>
            <a:ln w="9525" cmpd="sng">
              <a:solidFill>
                <a:schemeClr val="folHlink"/>
              </a:solidFill>
              <a:prstDash val="solid"/>
              <a:round/>
              <a:headEnd/>
              <a:tailEnd/>
            </a:ln>
          </p:spPr>
          <p:txBody>
            <a:bodyPr/>
            <a:lstStyle/>
            <a:p>
              <a:endParaRPr lang="en-US"/>
            </a:p>
          </p:txBody>
        </p:sp>
        <p:sp>
          <p:nvSpPr>
            <p:cNvPr id="71" name="Freeform 14"/>
            <p:cNvSpPr>
              <a:spLocks/>
            </p:cNvSpPr>
            <p:nvPr/>
          </p:nvSpPr>
          <p:spPr bwMode="gray">
            <a:xfrm>
              <a:off x="3034" y="2694"/>
              <a:ext cx="221" cy="194"/>
            </a:xfrm>
            <a:custGeom>
              <a:avLst/>
              <a:gdLst/>
              <a:ahLst/>
              <a:cxnLst>
                <a:cxn ang="0">
                  <a:pos x="21" y="179"/>
                </a:cxn>
                <a:cxn ang="0">
                  <a:pos x="54" y="186"/>
                </a:cxn>
                <a:cxn ang="0">
                  <a:pos x="84" y="196"/>
                </a:cxn>
                <a:cxn ang="0">
                  <a:pos x="111" y="196"/>
                </a:cxn>
                <a:cxn ang="0">
                  <a:pos x="143" y="179"/>
                </a:cxn>
                <a:cxn ang="0">
                  <a:pos x="166" y="146"/>
                </a:cxn>
                <a:cxn ang="0">
                  <a:pos x="185" y="118"/>
                </a:cxn>
                <a:cxn ang="0">
                  <a:pos x="201" y="103"/>
                </a:cxn>
                <a:cxn ang="0">
                  <a:pos x="224" y="93"/>
                </a:cxn>
                <a:cxn ang="0">
                  <a:pos x="250" y="83"/>
                </a:cxn>
                <a:cxn ang="0">
                  <a:pos x="269" y="74"/>
                </a:cxn>
                <a:cxn ang="0">
                  <a:pos x="273" y="49"/>
                </a:cxn>
                <a:cxn ang="0">
                  <a:pos x="287" y="30"/>
                </a:cxn>
                <a:cxn ang="0">
                  <a:pos x="315" y="9"/>
                </a:cxn>
                <a:cxn ang="0">
                  <a:pos x="350" y="0"/>
                </a:cxn>
                <a:cxn ang="0">
                  <a:pos x="374" y="0"/>
                </a:cxn>
                <a:cxn ang="0">
                  <a:pos x="390" y="1"/>
                </a:cxn>
                <a:cxn ang="0">
                  <a:pos x="462" y="38"/>
                </a:cxn>
                <a:cxn ang="0">
                  <a:pos x="500" y="68"/>
                </a:cxn>
                <a:cxn ang="0">
                  <a:pos x="554" y="89"/>
                </a:cxn>
                <a:cxn ang="0">
                  <a:pos x="586" y="131"/>
                </a:cxn>
                <a:cxn ang="0">
                  <a:pos x="584" y="173"/>
                </a:cxn>
                <a:cxn ang="0">
                  <a:pos x="573" y="217"/>
                </a:cxn>
                <a:cxn ang="0">
                  <a:pos x="561" y="257"/>
                </a:cxn>
                <a:cxn ang="0">
                  <a:pos x="559" y="289"/>
                </a:cxn>
                <a:cxn ang="0">
                  <a:pos x="571" y="322"/>
                </a:cxn>
                <a:cxn ang="0">
                  <a:pos x="571" y="345"/>
                </a:cxn>
                <a:cxn ang="0">
                  <a:pos x="556" y="368"/>
                </a:cxn>
                <a:cxn ang="0">
                  <a:pos x="536" y="391"/>
                </a:cxn>
                <a:cxn ang="0">
                  <a:pos x="525" y="408"/>
                </a:cxn>
                <a:cxn ang="0">
                  <a:pos x="521" y="436"/>
                </a:cxn>
                <a:cxn ang="0">
                  <a:pos x="514" y="454"/>
                </a:cxn>
                <a:cxn ang="0">
                  <a:pos x="487" y="482"/>
                </a:cxn>
                <a:cxn ang="0">
                  <a:pos x="449" y="517"/>
                </a:cxn>
                <a:cxn ang="0">
                  <a:pos x="428" y="534"/>
                </a:cxn>
                <a:cxn ang="0">
                  <a:pos x="412" y="534"/>
                </a:cxn>
                <a:cxn ang="0">
                  <a:pos x="397" y="534"/>
                </a:cxn>
                <a:cxn ang="0">
                  <a:pos x="369" y="534"/>
                </a:cxn>
                <a:cxn ang="0">
                  <a:pos x="342" y="524"/>
                </a:cxn>
                <a:cxn ang="0">
                  <a:pos x="304" y="518"/>
                </a:cxn>
                <a:cxn ang="0">
                  <a:pos x="283" y="509"/>
                </a:cxn>
                <a:cxn ang="0">
                  <a:pos x="266" y="494"/>
                </a:cxn>
                <a:cxn ang="0">
                  <a:pos x="247" y="478"/>
                </a:cxn>
                <a:cxn ang="0">
                  <a:pos x="224" y="471"/>
                </a:cxn>
                <a:cxn ang="0">
                  <a:pos x="187" y="454"/>
                </a:cxn>
                <a:cxn ang="0">
                  <a:pos x="178" y="434"/>
                </a:cxn>
                <a:cxn ang="0">
                  <a:pos x="176" y="406"/>
                </a:cxn>
                <a:cxn ang="0">
                  <a:pos x="174" y="383"/>
                </a:cxn>
                <a:cxn ang="0">
                  <a:pos x="159" y="372"/>
                </a:cxn>
                <a:cxn ang="0">
                  <a:pos x="143" y="352"/>
                </a:cxn>
                <a:cxn ang="0">
                  <a:pos x="128" y="337"/>
                </a:cxn>
                <a:cxn ang="0">
                  <a:pos x="86" y="320"/>
                </a:cxn>
                <a:cxn ang="0">
                  <a:pos x="63" y="305"/>
                </a:cxn>
                <a:cxn ang="0">
                  <a:pos x="54" y="282"/>
                </a:cxn>
                <a:cxn ang="0">
                  <a:pos x="44" y="255"/>
                </a:cxn>
                <a:cxn ang="0">
                  <a:pos x="21" y="227"/>
                </a:cxn>
                <a:cxn ang="0">
                  <a:pos x="4" y="198"/>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solidFill>
              <a:srgbClr val="FFFF00"/>
            </a:solidFill>
            <a:ln w="9525" cmpd="sng">
              <a:solidFill>
                <a:schemeClr val="folHlink"/>
              </a:solidFill>
              <a:prstDash val="solid"/>
              <a:round/>
              <a:headEnd/>
              <a:tailEnd/>
            </a:ln>
          </p:spPr>
          <p:txBody>
            <a:bodyPr/>
            <a:lstStyle/>
            <a:p>
              <a:endParaRPr lang="en-US"/>
            </a:p>
          </p:txBody>
        </p:sp>
        <p:sp>
          <p:nvSpPr>
            <p:cNvPr id="72" name="Freeform 15"/>
            <p:cNvSpPr>
              <a:spLocks/>
            </p:cNvSpPr>
            <p:nvPr/>
          </p:nvSpPr>
          <p:spPr bwMode="gray">
            <a:xfrm>
              <a:off x="3254" y="2516"/>
              <a:ext cx="87" cy="211"/>
            </a:xfrm>
            <a:custGeom>
              <a:avLst/>
              <a:gdLst/>
              <a:ahLst/>
              <a:cxnLst>
                <a:cxn ang="0">
                  <a:pos x="218" y="401"/>
                </a:cxn>
                <a:cxn ang="0">
                  <a:pos x="233" y="437"/>
                </a:cxn>
                <a:cxn ang="0">
                  <a:pos x="223" y="447"/>
                </a:cxn>
                <a:cxn ang="0">
                  <a:pos x="227" y="492"/>
                </a:cxn>
                <a:cxn ang="0">
                  <a:pos x="225" y="511"/>
                </a:cxn>
                <a:cxn ang="0">
                  <a:pos x="212" y="517"/>
                </a:cxn>
                <a:cxn ang="0">
                  <a:pos x="195" y="525"/>
                </a:cxn>
                <a:cxn ang="0">
                  <a:pos x="174" y="546"/>
                </a:cxn>
                <a:cxn ang="0">
                  <a:pos x="178" y="555"/>
                </a:cxn>
                <a:cxn ang="0">
                  <a:pos x="174" y="567"/>
                </a:cxn>
                <a:cxn ang="0">
                  <a:pos x="174" y="580"/>
                </a:cxn>
                <a:cxn ang="0">
                  <a:pos x="137" y="544"/>
                </a:cxn>
                <a:cxn ang="0">
                  <a:pos x="126" y="506"/>
                </a:cxn>
                <a:cxn ang="0">
                  <a:pos x="137" y="479"/>
                </a:cxn>
                <a:cxn ang="0">
                  <a:pos x="149" y="452"/>
                </a:cxn>
                <a:cxn ang="0">
                  <a:pos x="143" y="414"/>
                </a:cxn>
                <a:cxn ang="0">
                  <a:pos x="111" y="380"/>
                </a:cxn>
                <a:cxn ang="0">
                  <a:pos x="86" y="395"/>
                </a:cxn>
                <a:cxn ang="0">
                  <a:pos x="63" y="385"/>
                </a:cxn>
                <a:cxn ang="0">
                  <a:pos x="44" y="355"/>
                </a:cxn>
                <a:cxn ang="0">
                  <a:pos x="6" y="342"/>
                </a:cxn>
                <a:cxn ang="0">
                  <a:pos x="6" y="315"/>
                </a:cxn>
                <a:cxn ang="0">
                  <a:pos x="21" y="302"/>
                </a:cxn>
                <a:cxn ang="0">
                  <a:pos x="34" y="277"/>
                </a:cxn>
                <a:cxn ang="0">
                  <a:pos x="40" y="254"/>
                </a:cxn>
                <a:cxn ang="0">
                  <a:pos x="48" y="231"/>
                </a:cxn>
                <a:cxn ang="0">
                  <a:pos x="61" y="214"/>
                </a:cxn>
                <a:cxn ang="0">
                  <a:pos x="59" y="187"/>
                </a:cxn>
                <a:cxn ang="0">
                  <a:pos x="52" y="160"/>
                </a:cxn>
                <a:cxn ang="0">
                  <a:pos x="57" y="137"/>
                </a:cxn>
                <a:cxn ang="0">
                  <a:pos x="65" y="111"/>
                </a:cxn>
                <a:cxn ang="0">
                  <a:pos x="78" y="80"/>
                </a:cxn>
                <a:cxn ang="0">
                  <a:pos x="71" y="52"/>
                </a:cxn>
                <a:cxn ang="0">
                  <a:pos x="59" y="23"/>
                </a:cxn>
                <a:cxn ang="0">
                  <a:pos x="52" y="0"/>
                </a:cxn>
                <a:cxn ang="0">
                  <a:pos x="94" y="6"/>
                </a:cxn>
                <a:cxn ang="0">
                  <a:pos x="111" y="25"/>
                </a:cxn>
                <a:cxn ang="0">
                  <a:pos x="120" y="52"/>
                </a:cxn>
                <a:cxn ang="0">
                  <a:pos x="124" y="61"/>
                </a:cxn>
                <a:cxn ang="0">
                  <a:pos x="134" y="73"/>
                </a:cxn>
                <a:cxn ang="0">
                  <a:pos x="134" y="170"/>
                </a:cxn>
                <a:cxn ang="0">
                  <a:pos x="124" y="202"/>
                </a:cxn>
                <a:cxn ang="0">
                  <a:pos x="113" y="225"/>
                </a:cxn>
                <a:cxn ang="0">
                  <a:pos x="118" y="242"/>
                </a:cxn>
                <a:cxn ang="0">
                  <a:pos x="128" y="271"/>
                </a:cxn>
                <a:cxn ang="0">
                  <a:pos x="134" y="319"/>
                </a:cxn>
                <a:cxn ang="0">
                  <a:pos x="143" y="332"/>
                </a:cxn>
                <a:cxn ang="0">
                  <a:pos x="149" y="345"/>
                </a:cxn>
                <a:cxn ang="0">
                  <a:pos x="143" y="359"/>
                </a:cxn>
                <a:cxn ang="0">
                  <a:pos x="149" y="376"/>
                </a:cxn>
                <a:cxn ang="0">
                  <a:pos x="162" y="380"/>
                </a:cxn>
                <a:cxn ang="0">
                  <a:pos x="166" y="368"/>
                </a:cxn>
                <a:cxn ang="0">
                  <a:pos x="179" y="374"/>
                </a:cxn>
                <a:cxn ang="0">
                  <a:pos x="189" y="378"/>
                </a:cxn>
                <a:cxn ang="0">
                  <a:pos x="191" y="366"/>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solidFill>
              <a:srgbClr val="FFC000"/>
            </a:solidFill>
            <a:ln w="9525" cmpd="sng">
              <a:solidFill>
                <a:schemeClr val="folHlink"/>
              </a:solidFill>
              <a:prstDash val="solid"/>
              <a:round/>
              <a:headEnd/>
              <a:tailEnd/>
            </a:ln>
          </p:spPr>
          <p:txBody>
            <a:bodyPr/>
            <a:lstStyle/>
            <a:p>
              <a:endParaRPr lang="en-US"/>
            </a:p>
          </p:txBody>
        </p:sp>
        <p:sp>
          <p:nvSpPr>
            <p:cNvPr id="73" name="Freeform 16"/>
            <p:cNvSpPr>
              <a:spLocks/>
            </p:cNvSpPr>
            <p:nvPr/>
          </p:nvSpPr>
          <p:spPr bwMode="gray">
            <a:xfrm>
              <a:off x="3177" y="2537"/>
              <a:ext cx="315" cy="483"/>
            </a:xfrm>
            <a:custGeom>
              <a:avLst/>
              <a:gdLst/>
              <a:ahLst/>
              <a:cxnLst>
                <a:cxn ang="0">
                  <a:pos x="437" y="380"/>
                </a:cxn>
                <a:cxn ang="0">
                  <a:pos x="431" y="435"/>
                </a:cxn>
                <a:cxn ang="0">
                  <a:pos x="416" y="460"/>
                </a:cxn>
                <a:cxn ang="0">
                  <a:pos x="378" y="489"/>
                </a:cxn>
                <a:cxn ang="0">
                  <a:pos x="378" y="510"/>
                </a:cxn>
                <a:cxn ang="0">
                  <a:pos x="341" y="487"/>
                </a:cxn>
                <a:cxn ang="0">
                  <a:pos x="341" y="422"/>
                </a:cxn>
                <a:cxn ang="0">
                  <a:pos x="347" y="357"/>
                </a:cxn>
                <a:cxn ang="0">
                  <a:pos x="290" y="338"/>
                </a:cxn>
                <a:cxn ang="0">
                  <a:pos x="248" y="298"/>
                </a:cxn>
                <a:cxn ang="0">
                  <a:pos x="153" y="330"/>
                </a:cxn>
                <a:cxn ang="0">
                  <a:pos x="86" y="349"/>
                </a:cxn>
                <a:cxn ang="0">
                  <a:pos x="32" y="369"/>
                </a:cxn>
                <a:cxn ang="0">
                  <a:pos x="4" y="405"/>
                </a:cxn>
                <a:cxn ang="0">
                  <a:pos x="8" y="430"/>
                </a:cxn>
                <a:cxn ang="0">
                  <a:pos x="101" y="491"/>
                </a:cxn>
                <a:cxn ang="0">
                  <a:pos x="206" y="563"/>
                </a:cxn>
                <a:cxn ang="0">
                  <a:pos x="187" y="664"/>
                </a:cxn>
                <a:cxn ang="0">
                  <a:pos x="189" y="748"/>
                </a:cxn>
                <a:cxn ang="0">
                  <a:pos x="172" y="804"/>
                </a:cxn>
                <a:cxn ang="0">
                  <a:pos x="143" y="857"/>
                </a:cxn>
                <a:cxn ang="0">
                  <a:pos x="107" y="914"/>
                </a:cxn>
                <a:cxn ang="0">
                  <a:pos x="50" y="966"/>
                </a:cxn>
                <a:cxn ang="0">
                  <a:pos x="65" y="1052"/>
                </a:cxn>
                <a:cxn ang="0">
                  <a:pos x="88" y="1114"/>
                </a:cxn>
                <a:cxn ang="0">
                  <a:pos x="88" y="1164"/>
                </a:cxn>
                <a:cxn ang="0">
                  <a:pos x="76" y="1246"/>
                </a:cxn>
                <a:cxn ang="0">
                  <a:pos x="84" y="1275"/>
                </a:cxn>
                <a:cxn ang="0">
                  <a:pos x="118" y="1326"/>
                </a:cxn>
                <a:cxn ang="0">
                  <a:pos x="151" y="1273"/>
                </a:cxn>
                <a:cxn ang="0">
                  <a:pos x="158" y="1227"/>
                </a:cxn>
                <a:cxn ang="0">
                  <a:pos x="216" y="1189"/>
                </a:cxn>
                <a:cxn ang="0">
                  <a:pos x="284" y="1168"/>
                </a:cxn>
                <a:cxn ang="0">
                  <a:pos x="351" y="1126"/>
                </a:cxn>
                <a:cxn ang="0">
                  <a:pos x="361" y="1073"/>
                </a:cxn>
                <a:cxn ang="0">
                  <a:pos x="370" y="1013"/>
                </a:cxn>
                <a:cxn ang="0">
                  <a:pos x="376" y="977"/>
                </a:cxn>
                <a:cxn ang="0">
                  <a:pos x="357" y="903"/>
                </a:cxn>
                <a:cxn ang="0">
                  <a:pos x="334" y="830"/>
                </a:cxn>
                <a:cxn ang="0">
                  <a:pos x="345" y="773"/>
                </a:cxn>
                <a:cxn ang="0">
                  <a:pos x="422" y="718"/>
                </a:cxn>
                <a:cxn ang="0">
                  <a:pos x="502" y="657"/>
                </a:cxn>
                <a:cxn ang="0">
                  <a:pos x="582" y="586"/>
                </a:cxn>
                <a:cxn ang="0">
                  <a:pos x="692" y="538"/>
                </a:cxn>
                <a:cxn ang="0">
                  <a:pos x="757" y="485"/>
                </a:cxn>
                <a:cxn ang="0">
                  <a:pos x="811" y="426"/>
                </a:cxn>
                <a:cxn ang="0">
                  <a:pos x="837" y="357"/>
                </a:cxn>
                <a:cxn ang="0">
                  <a:pos x="824" y="308"/>
                </a:cxn>
                <a:cxn ang="0">
                  <a:pos x="824" y="260"/>
                </a:cxn>
                <a:cxn ang="0">
                  <a:pos x="826" y="210"/>
                </a:cxn>
                <a:cxn ang="0">
                  <a:pos x="816" y="147"/>
                </a:cxn>
                <a:cxn ang="0">
                  <a:pos x="822" y="92"/>
                </a:cxn>
                <a:cxn ang="0">
                  <a:pos x="818" y="19"/>
                </a:cxn>
                <a:cxn ang="0">
                  <a:pos x="765" y="39"/>
                </a:cxn>
                <a:cxn ang="0">
                  <a:pos x="658" y="73"/>
                </a:cxn>
                <a:cxn ang="0">
                  <a:pos x="610" y="79"/>
                </a:cxn>
                <a:cxn ang="0">
                  <a:pos x="544" y="105"/>
                </a:cxn>
                <a:cxn ang="0">
                  <a:pos x="479" y="94"/>
                </a:cxn>
                <a:cxn ang="0">
                  <a:pos x="435" y="86"/>
                </a:cxn>
                <a:cxn ang="0">
                  <a:pos x="383" y="103"/>
                </a:cxn>
                <a:cxn ang="0">
                  <a:pos x="382" y="136"/>
                </a:cxn>
                <a:cxn ang="0">
                  <a:pos x="368" y="193"/>
                </a:cxn>
                <a:cxn ang="0">
                  <a:pos x="395" y="306"/>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solidFill>
              <a:srgbClr val="FF0000"/>
            </a:solidFill>
            <a:ln w="9525" cmpd="sng">
              <a:solidFill>
                <a:schemeClr val="folHlink"/>
              </a:solidFill>
              <a:prstDash val="solid"/>
              <a:round/>
              <a:headEnd/>
              <a:tailEnd/>
            </a:ln>
          </p:spPr>
          <p:txBody>
            <a:bodyPr/>
            <a:lstStyle/>
            <a:p>
              <a:endParaRPr lang="en-US"/>
            </a:p>
          </p:txBody>
        </p:sp>
        <p:sp>
          <p:nvSpPr>
            <p:cNvPr id="74" name="Freeform 17"/>
            <p:cNvSpPr>
              <a:spLocks/>
            </p:cNvSpPr>
            <p:nvPr/>
          </p:nvSpPr>
          <p:spPr bwMode="gray">
            <a:xfrm>
              <a:off x="3170" y="2984"/>
              <a:ext cx="43" cy="47"/>
            </a:xfrm>
            <a:custGeom>
              <a:avLst/>
              <a:gdLst/>
              <a:ahLst/>
              <a:cxnLst>
                <a:cxn ang="0">
                  <a:pos x="97" y="4"/>
                </a:cxn>
                <a:cxn ang="0">
                  <a:pos x="91" y="11"/>
                </a:cxn>
                <a:cxn ang="0">
                  <a:pos x="93" y="17"/>
                </a:cxn>
                <a:cxn ang="0">
                  <a:pos x="97" y="23"/>
                </a:cxn>
                <a:cxn ang="0">
                  <a:pos x="99" y="29"/>
                </a:cxn>
                <a:cxn ang="0">
                  <a:pos x="101" y="34"/>
                </a:cxn>
                <a:cxn ang="0">
                  <a:pos x="101" y="36"/>
                </a:cxn>
                <a:cxn ang="0">
                  <a:pos x="101" y="40"/>
                </a:cxn>
                <a:cxn ang="0">
                  <a:pos x="101" y="46"/>
                </a:cxn>
                <a:cxn ang="0">
                  <a:pos x="101" y="51"/>
                </a:cxn>
                <a:cxn ang="0">
                  <a:pos x="101" y="55"/>
                </a:cxn>
                <a:cxn ang="0">
                  <a:pos x="101" y="67"/>
                </a:cxn>
                <a:cxn ang="0">
                  <a:pos x="103" y="76"/>
                </a:cxn>
                <a:cxn ang="0">
                  <a:pos x="107" y="84"/>
                </a:cxn>
                <a:cxn ang="0">
                  <a:pos x="112" y="92"/>
                </a:cxn>
                <a:cxn ang="0">
                  <a:pos x="109" y="97"/>
                </a:cxn>
                <a:cxn ang="0">
                  <a:pos x="101" y="109"/>
                </a:cxn>
                <a:cxn ang="0">
                  <a:pos x="91" y="122"/>
                </a:cxn>
                <a:cxn ang="0">
                  <a:pos x="78" y="128"/>
                </a:cxn>
                <a:cxn ang="0">
                  <a:pos x="69" y="130"/>
                </a:cxn>
                <a:cxn ang="0">
                  <a:pos x="55" y="130"/>
                </a:cxn>
                <a:cxn ang="0">
                  <a:pos x="44" y="128"/>
                </a:cxn>
                <a:cxn ang="0">
                  <a:pos x="32" y="122"/>
                </a:cxn>
                <a:cxn ang="0">
                  <a:pos x="23" y="118"/>
                </a:cxn>
                <a:cxn ang="0">
                  <a:pos x="13" y="111"/>
                </a:cxn>
                <a:cxn ang="0">
                  <a:pos x="7" y="103"/>
                </a:cxn>
                <a:cxn ang="0">
                  <a:pos x="2" y="93"/>
                </a:cxn>
                <a:cxn ang="0">
                  <a:pos x="0" y="82"/>
                </a:cxn>
                <a:cxn ang="0">
                  <a:pos x="2" y="78"/>
                </a:cxn>
                <a:cxn ang="0">
                  <a:pos x="4" y="65"/>
                </a:cxn>
                <a:cxn ang="0">
                  <a:pos x="9" y="51"/>
                </a:cxn>
                <a:cxn ang="0">
                  <a:pos x="17" y="38"/>
                </a:cxn>
                <a:cxn ang="0">
                  <a:pos x="25" y="25"/>
                </a:cxn>
                <a:cxn ang="0">
                  <a:pos x="34" y="13"/>
                </a:cxn>
                <a:cxn ang="0">
                  <a:pos x="44" y="6"/>
                </a:cxn>
                <a:cxn ang="0">
                  <a:pos x="53" y="0"/>
                </a:cxn>
                <a:cxn ang="0">
                  <a:pos x="59" y="0"/>
                </a:cxn>
                <a:cxn ang="0">
                  <a:pos x="69" y="2"/>
                </a:cxn>
                <a:cxn ang="0">
                  <a:pos x="74" y="8"/>
                </a:cxn>
                <a:cxn ang="0">
                  <a:pos x="84" y="13"/>
                </a:cxn>
                <a:cxn ang="0">
                  <a:pos x="91" y="15"/>
                </a:cxn>
                <a:cxn ang="0">
                  <a:pos x="97" y="4"/>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solidFill>
              <a:schemeClr val="bg1">
                <a:lumMod val="95000"/>
              </a:schemeClr>
            </a:solidFill>
            <a:ln w="9525" cmpd="sng">
              <a:solidFill>
                <a:schemeClr val="folHlink"/>
              </a:solidFill>
              <a:prstDash val="solid"/>
              <a:round/>
              <a:headEnd/>
              <a:tailEnd/>
            </a:ln>
          </p:spPr>
          <p:txBody>
            <a:bodyPr/>
            <a:lstStyle/>
            <a:p>
              <a:endParaRPr lang="en-US"/>
            </a:p>
          </p:txBody>
        </p:sp>
        <p:sp>
          <p:nvSpPr>
            <p:cNvPr id="75" name="Freeform 18"/>
            <p:cNvSpPr>
              <a:spLocks/>
            </p:cNvSpPr>
            <p:nvPr/>
          </p:nvSpPr>
          <p:spPr bwMode="gray">
            <a:xfrm>
              <a:off x="2778" y="2881"/>
              <a:ext cx="453" cy="353"/>
            </a:xfrm>
            <a:custGeom>
              <a:avLst/>
              <a:gdLst/>
              <a:ahLst/>
              <a:cxnLst>
                <a:cxn ang="0">
                  <a:pos x="1106" y="284"/>
                </a:cxn>
                <a:cxn ang="0">
                  <a:pos x="1056" y="335"/>
                </a:cxn>
                <a:cxn ang="0">
                  <a:pos x="1056" y="391"/>
                </a:cxn>
                <a:cxn ang="0">
                  <a:pos x="1116" y="414"/>
                </a:cxn>
                <a:cxn ang="0">
                  <a:pos x="1161" y="377"/>
                </a:cxn>
                <a:cxn ang="0">
                  <a:pos x="1194" y="381"/>
                </a:cxn>
                <a:cxn ang="0">
                  <a:pos x="1192" y="412"/>
                </a:cxn>
                <a:cxn ang="0">
                  <a:pos x="1158" y="505"/>
                </a:cxn>
                <a:cxn ang="0">
                  <a:pos x="1108" y="541"/>
                </a:cxn>
                <a:cxn ang="0">
                  <a:pos x="1074" y="576"/>
                </a:cxn>
                <a:cxn ang="0">
                  <a:pos x="1041" y="622"/>
                </a:cxn>
                <a:cxn ang="0">
                  <a:pos x="988" y="685"/>
                </a:cxn>
                <a:cxn ang="0">
                  <a:pos x="925" y="746"/>
                </a:cxn>
                <a:cxn ang="0">
                  <a:pos x="858" y="803"/>
                </a:cxn>
                <a:cxn ang="0">
                  <a:pos x="784" y="858"/>
                </a:cxn>
                <a:cxn ang="0">
                  <a:pos x="692" y="894"/>
                </a:cxn>
                <a:cxn ang="0">
                  <a:pos x="644" y="896"/>
                </a:cxn>
                <a:cxn ang="0">
                  <a:pos x="583" y="923"/>
                </a:cxn>
                <a:cxn ang="0">
                  <a:pos x="471" y="913"/>
                </a:cxn>
                <a:cxn ang="0">
                  <a:pos x="427" y="915"/>
                </a:cxn>
                <a:cxn ang="0">
                  <a:pos x="368" y="938"/>
                </a:cxn>
                <a:cxn ang="0">
                  <a:pos x="324" y="940"/>
                </a:cxn>
                <a:cxn ang="0">
                  <a:pos x="280" y="950"/>
                </a:cxn>
                <a:cxn ang="0">
                  <a:pos x="230" y="969"/>
                </a:cxn>
                <a:cxn ang="0">
                  <a:pos x="181" y="940"/>
                </a:cxn>
                <a:cxn ang="0">
                  <a:pos x="147" y="919"/>
                </a:cxn>
                <a:cxn ang="0">
                  <a:pos x="122" y="927"/>
                </a:cxn>
                <a:cxn ang="0">
                  <a:pos x="129" y="887"/>
                </a:cxn>
                <a:cxn ang="0">
                  <a:pos x="95" y="822"/>
                </a:cxn>
                <a:cxn ang="0">
                  <a:pos x="120" y="755"/>
                </a:cxn>
                <a:cxn ang="0">
                  <a:pos x="80" y="686"/>
                </a:cxn>
                <a:cxn ang="0">
                  <a:pos x="34" y="604"/>
                </a:cxn>
                <a:cxn ang="0">
                  <a:pos x="9" y="528"/>
                </a:cxn>
                <a:cxn ang="0">
                  <a:pos x="15" y="471"/>
                </a:cxn>
                <a:cxn ang="0">
                  <a:pos x="68" y="490"/>
                </a:cxn>
                <a:cxn ang="0">
                  <a:pos x="124" y="517"/>
                </a:cxn>
                <a:cxn ang="0">
                  <a:pos x="188" y="519"/>
                </a:cxn>
                <a:cxn ang="0">
                  <a:pos x="238" y="488"/>
                </a:cxn>
                <a:cxn ang="0">
                  <a:pos x="282" y="231"/>
                </a:cxn>
                <a:cxn ang="0">
                  <a:pos x="314" y="292"/>
                </a:cxn>
                <a:cxn ang="0">
                  <a:pos x="301" y="347"/>
                </a:cxn>
                <a:cxn ang="0">
                  <a:pos x="351" y="364"/>
                </a:cxn>
                <a:cxn ang="0">
                  <a:pos x="438" y="320"/>
                </a:cxn>
                <a:cxn ang="0">
                  <a:pos x="486" y="250"/>
                </a:cxn>
                <a:cxn ang="0">
                  <a:pos x="551" y="278"/>
                </a:cxn>
                <a:cxn ang="0">
                  <a:pos x="621" y="278"/>
                </a:cxn>
                <a:cxn ang="0">
                  <a:pos x="675" y="271"/>
                </a:cxn>
                <a:cxn ang="0">
                  <a:pos x="704" y="210"/>
                </a:cxn>
                <a:cxn ang="0">
                  <a:pos x="744" y="194"/>
                </a:cxn>
                <a:cxn ang="0">
                  <a:pos x="782" y="147"/>
                </a:cxn>
                <a:cxn ang="0">
                  <a:pos x="824" y="107"/>
                </a:cxn>
                <a:cxn ang="0">
                  <a:pos x="885" y="42"/>
                </a:cxn>
                <a:cxn ang="0">
                  <a:pos x="927" y="38"/>
                </a:cxn>
                <a:cxn ang="0">
                  <a:pos x="1003" y="4"/>
                </a:cxn>
                <a:cxn ang="0">
                  <a:pos x="1072" y="21"/>
                </a:cxn>
                <a:cxn ang="0">
                  <a:pos x="1112" y="21"/>
                </a:cxn>
                <a:cxn ang="0">
                  <a:pos x="1125" y="99"/>
                </a:cxn>
                <a:cxn ang="0">
                  <a:pos x="1146" y="147"/>
                </a:cxn>
                <a:cxn ang="0">
                  <a:pos x="1152" y="196"/>
                </a:cxn>
                <a:cxn ang="0">
                  <a:pos x="1146" y="244"/>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solidFill>
              <a:srgbClr val="FF0000"/>
            </a:solidFill>
            <a:ln w="9525" cmpd="sng">
              <a:solidFill>
                <a:schemeClr val="folHlink"/>
              </a:solidFill>
              <a:prstDash val="solid"/>
              <a:round/>
              <a:headEnd/>
              <a:tailEnd/>
            </a:ln>
          </p:spPr>
          <p:txBody>
            <a:bodyPr/>
            <a:lstStyle/>
            <a:p>
              <a:endParaRPr lang="en-US"/>
            </a:p>
          </p:txBody>
        </p:sp>
        <p:sp>
          <p:nvSpPr>
            <p:cNvPr id="76" name="Freeform 19"/>
            <p:cNvSpPr>
              <a:spLocks/>
            </p:cNvSpPr>
            <p:nvPr/>
          </p:nvSpPr>
          <p:spPr bwMode="gray">
            <a:xfrm>
              <a:off x="2636" y="2736"/>
              <a:ext cx="396" cy="335"/>
            </a:xfrm>
            <a:custGeom>
              <a:avLst/>
              <a:gdLst/>
              <a:ahLst/>
              <a:cxnLst>
                <a:cxn ang="0">
                  <a:pos x="80" y="189"/>
                </a:cxn>
                <a:cxn ang="0">
                  <a:pos x="132" y="276"/>
                </a:cxn>
                <a:cxn ang="0">
                  <a:pos x="187" y="362"/>
                </a:cxn>
                <a:cxn ang="0">
                  <a:pos x="215" y="410"/>
                </a:cxn>
                <a:cxn ang="0">
                  <a:pos x="235" y="427"/>
                </a:cxn>
                <a:cxn ang="0">
                  <a:pos x="248" y="456"/>
                </a:cxn>
                <a:cxn ang="0">
                  <a:pos x="214" y="486"/>
                </a:cxn>
                <a:cxn ang="0">
                  <a:pos x="214" y="486"/>
                </a:cxn>
                <a:cxn ang="0">
                  <a:pos x="223" y="555"/>
                </a:cxn>
                <a:cxn ang="0">
                  <a:pos x="235" y="584"/>
                </a:cxn>
                <a:cxn ang="0">
                  <a:pos x="244" y="612"/>
                </a:cxn>
                <a:cxn ang="0">
                  <a:pos x="248" y="631"/>
                </a:cxn>
                <a:cxn ang="0">
                  <a:pos x="248" y="650"/>
                </a:cxn>
                <a:cxn ang="0">
                  <a:pos x="248" y="671"/>
                </a:cxn>
                <a:cxn ang="0">
                  <a:pos x="263" y="700"/>
                </a:cxn>
                <a:cxn ang="0">
                  <a:pos x="277" y="774"/>
                </a:cxn>
                <a:cxn ang="0">
                  <a:pos x="303" y="820"/>
                </a:cxn>
                <a:cxn ang="0">
                  <a:pos x="339" y="860"/>
                </a:cxn>
                <a:cxn ang="0">
                  <a:pos x="378" y="893"/>
                </a:cxn>
                <a:cxn ang="0">
                  <a:pos x="393" y="868"/>
                </a:cxn>
                <a:cxn ang="0">
                  <a:pos x="412" y="849"/>
                </a:cxn>
                <a:cxn ang="0">
                  <a:pos x="442" y="877"/>
                </a:cxn>
                <a:cxn ang="0">
                  <a:pos x="458" y="902"/>
                </a:cxn>
                <a:cxn ang="0">
                  <a:pos x="486" y="912"/>
                </a:cxn>
                <a:cxn ang="0">
                  <a:pos x="525" y="916"/>
                </a:cxn>
                <a:cxn ang="0">
                  <a:pos x="557" y="918"/>
                </a:cxn>
                <a:cxn ang="0">
                  <a:pos x="576" y="912"/>
                </a:cxn>
                <a:cxn ang="0">
                  <a:pos x="597" y="897"/>
                </a:cxn>
                <a:cxn ang="0">
                  <a:pos x="622" y="883"/>
                </a:cxn>
                <a:cxn ang="0">
                  <a:pos x="631" y="391"/>
                </a:cxn>
                <a:cxn ang="0">
                  <a:pos x="893" y="70"/>
                </a:cxn>
                <a:cxn ang="0">
                  <a:pos x="916" y="88"/>
                </a:cxn>
                <a:cxn ang="0">
                  <a:pos x="933" y="99"/>
                </a:cxn>
                <a:cxn ang="0">
                  <a:pos x="954" y="82"/>
                </a:cxn>
                <a:cxn ang="0">
                  <a:pos x="975" y="67"/>
                </a:cxn>
                <a:cxn ang="0">
                  <a:pos x="1009" y="61"/>
                </a:cxn>
                <a:cxn ang="0">
                  <a:pos x="1034" y="61"/>
                </a:cxn>
                <a:cxn ang="0">
                  <a:pos x="1057" y="61"/>
                </a:cxn>
                <a:cxn ang="0">
                  <a:pos x="1028" y="40"/>
                </a:cxn>
                <a:cxn ang="0">
                  <a:pos x="994" y="34"/>
                </a:cxn>
                <a:cxn ang="0">
                  <a:pos x="950" y="38"/>
                </a:cxn>
                <a:cxn ang="0">
                  <a:pos x="906" y="44"/>
                </a:cxn>
                <a:cxn ang="0">
                  <a:pos x="864" y="51"/>
                </a:cxn>
                <a:cxn ang="0">
                  <a:pos x="822" y="61"/>
                </a:cxn>
                <a:cxn ang="0">
                  <a:pos x="776" y="67"/>
                </a:cxn>
                <a:cxn ang="0">
                  <a:pos x="729" y="70"/>
                </a:cxn>
                <a:cxn ang="0">
                  <a:pos x="685" y="70"/>
                </a:cxn>
                <a:cxn ang="0">
                  <a:pos x="624" y="67"/>
                </a:cxn>
                <a:cxn ang="0">
                  <a:pos x="568" y="57"/>
                </a:cxn>
                <a:cxn ang="0">
                  <a:pos x="536" y="48"/>
                </a:cxn>
                <a:cxn ang="0">
                  <a:pos x="519" y="32"/>
                </a:cxn>
                <a:cxn ang="0">
                  <a:pos x="168" y="23"/>
                </a:cxn>
                <a:cxn ang="0">
                  <a:pos x="135" y="2"/>
                </a:cxn>
                <a:cxn ang="0">
                  <a:pos x="97" y="2"/>
                </a:cxn>
                <a:cxn ang="0">
                  <a:pos x="63" y="11"/>
                </a:cxn>
                <a:cxn ang="0">
                  <a:pos x="34" y="9"/>
                </a:cxn>
                <a:cxn ang="0">
                  <a:pos x="0" y="11"/>
                </a:cxn>
                <a:cxn ang="0">
                  <a:pos x="11" y="65"/>
                </a:cxn>
                <a:cxn ang="0">
                  <a:pos x="29" y="93"/>
                </a:cxn>
                <a:cxn ang="0">
                  <a:pos x="44" y="124"/>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solidFill>
              <a:srgbClr val="FFFF00"/>
            </a:solidFill>
            <a:ln w="9525" cmpd="sng">
              <a:solidFill>
                <a:schemeClr val="folHlink"/>
              </a:solidFill>
              <a:prstDash val="solid"/>
              <a:round/>
              <a:headEnd/>
              <a:tailEnd/>
            </a:ln>
          </p:spPr>
          <p:txBody>
            <a:bodyPr/>
            <a:lstStyle/>
            <a:p>
              <a:endParaRPr lang="en-US"/>
            </a:p>
          </p:txBody>
        </p:sp>
        <p:sp>
          <p:nvSpPr>
            <p:cNvPr id="77" name="Freeform 20"/>
            <p:cNvSpPr>
              <a:spLocks/>
            </p:cNvSpPr>
            <p:nvPr/>
          </p:nvSpPr>
          <p:spPr bwMode="gray">
            <a:xfrm>
              <a:off x="2873" y="2758"/>
              <a:ext cx="273" cy="256"/>
            </a:xfrm>
            <a:custGeom>
              <a:avLst/>
              <a:gdLst/>
              <a:ahLst/>
              <a:cxnLst>
                <a:cxn ang="0">
                  <a:pos x="435" y="21"/>
                </a:cxn>
                <a:cxn ang="0">
                  <a:pos x="452" y="50"/>
                </a:cxn>
                <a:cxn ang="0">
                  <a:pos x="475" y="78"/>
                </a:cxn>
                <a:cxn ang="0">
                  <a:pos x="485" y="105"/>
                </a:cxn>
                <a:cxn ang="0">
                  <a:pos x="494" y="128"/>
                </a:cxn>
                <a:cxn ang="0">
                  <a:pos x="517" y="143"/>
                </a:cxn>
                <a:cxn ang="0">
                  <a:pos x="559" y="160"/>
                </a:cxn>
                <a:cxn ang="0">
                  <a:pos x="574" y="175"/>
                </a:cxn>
                <a:cxn ang="0">
                  <a:pos x="590" y="195"/>
                </a:cxn>
                <a:cxn ang="0">
                  <a:pos x="605" y="206"/>
                </a:cxn>
                <a:cxn ang="0">
                  <a:pos x="607" y="229"/>
                </a:cxn>
                <a:cxn ang="0">
                  <a:pos x="609" y="257"/>
                </a:cxn>
                <a:cxn ang="0">
                  <a:pos x="618" y="277"/>
                </a:cxn>
                <a:cxn ang="0">
                  <a:pos x="655" y="294"/>
                </a:cxn>
                <a:cxn ang="0">
                  <a:pos x="678" y="301"/>
                </a:cxn>
                <a:cxn ang="0">
                  <a:pos x="697" y="315"/>
                </a:cxn>
                <a:cxn ang="0">
                  <a:pos x="714" y="328"/>
                </a:cxn>
                <a:cxn ang="0">
                  <a:pos x="723" y="341"/>
                </a:cxn>
                <a:cxn ang="0">
                  <a:pos x="679" y="370"/>
                </a:cxn>
                <a:cxn ang="0">
                  <a:pos x="658" y="376"/>
                </a:cxn>
                <a:cxn ang="0">
                  <a:pos x="636" y="376"/>
                </a:cxn>
                <a:cxn ang="0">
                  <a:pos x="609" y="399"/>
                </a:cxn>
                <a:cxn ang="0">
                  <a:pos x="578" y="437"/>
                </a:cxn>
                <a:cxn ang="0">
                  <a:pos x="561" y="448"/>
                </a:cxn>
                <a:cxn ang="0">
                  <a:pos x="540" y="464"/>
                </a:cxn>
                <a:cxn ang="0">
                  <a:pos x="525" y="486"/>
                </a:cxn>
                <a:cxn ang="0">
                  <a:pos x="512" y="511"/>
                </a:cxn>
                <a:cxn ang="0">
                  <a:pos x="491" y="530"/>
                </a:cxn>
                <a:cxn ang="0">
                  <a:pos x="471" y="538"/>
                </a:cxn>
                <a:cxn ang="0">
                  <a:pos x="451" y="546"/>
                </a:cxn>
                <a:cxn ang="0">
                  <a:pos x="443" y="572"/>
                </a:cxn>
                <a:cxn ang="0">
                  <a:pos x="430" y="599"/>
                </a:cxn>
                <a:cxn ang="0">
                  <a:pos x="407" y="612"/>
                </a:cxn>
                <a:cxn ang="0">
                  <a:pos x="382" y="614"/>
                </a:cxn>
                <a:cxn ang="0">
                  <a:pos x="361" y="614"/>
                </a:cxn>
                <a:cxn ang="0">
                  <a:pos x="332" y="614"/>
                </a:cxn>
                <a:cxn ang="0">
                  <a:pos x="298" y="614"/>
                </a:cxn>
                <a:cxn ang="0">
                  <a:pos x="267" y="591"/>
                </a:cxn>
                <a:cxn ang="0">
                  <a:pos x="233" y="586"/>
                </a:cxn>
                <a:cxn ang="0">
                  <a:pos x="210" y="624"/>
                </a:cxn>
                <a:cxn ang="0">
                  <a:pos x="191" y="650"/>
                </a:cxn>
                <a:cxn ang="0">
                  <a:pos x="159" y="679"/>
                </a:cxn>
                <a:cxn ang="0">
                  <a:pos x="117" y="698"/>
                </a:cxn>
                <a:cxn ang="0">
                  <a:pos x="79" y="696"/>
                </a:cxn>
                <a:cxn ang="0">
                  <a:pos x="54" y="692"/>
                </a:cxn>
                <a:cxn ang="0">
                  <a:pos x="48" y="675"/>
                </a:cxn>
                <a:cxn ang="0">
                  <a:pos x="59" y="650"/>
                </a:cxn>
                <a:cxn ang="0">
                  <a:pos x="59" y="620"/>
                </a:cxn>
                <a:cxn ang="0">
                  <a:pos x="48" y="588"/>
                </a:cxn>
                <a:cxn ang="0">
                  <a:pos x="29" y="567"/>
                </a:cxn>
                <a:cxn ang="0">
                  <a:pos x="0" y="549"/>
                </a:cxn>
                <a:cxn ang="0">
                  <a:pos x="262" y="9"/>
                </a:cxn>
                <a:cxn ang="0">
                  <a:pos x="279" y="23"/>
                </a:cxn>
                <a:cxn ang="0">
                  <a:pos x="298" y="40"/>
                </a:cxn>
                <a:cxn ang="0">
                  <a:pos x="319" y="25"/>
                </a:cxn>
                <a:cxn ang="0">
                  <a:pos x="340" y="8"/>
                </a:cxn>
                <a:cxn ang="0">
                  <a:pos x="370" y="0"/>
                </a:cxn>
                <a:cxn ang="0">
                  <a:pos x="397" y="0"/>
                </a:cxn>
                <a:cxn ang="0">
                  <a:pos x="431" y="0"/>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solidFill>
              <a:schemeClr val="accent3">
                <a:lumMod val="60000"/>
                <a:lumOff val="40000"/>
              </a:schemeClr>
            </a:solidFill>
            <a:ln w="9525" cmpd="sng">
              <a:solidFill>
                <a:schemeClr val="folHlink"/>
              </a:solidFill>
              <a:prstDash val="solid"/>
              <a:round/>
              <a:headEnd/>
              <a:tailEnd/>
            </a:ln>
          </p:spPr>
          <p:txBody>
            <a:bodyPr/>
            <a:lstStyle/>
            <a:p>
              <a:endParaRPr lang="en-US"/>
            </a:p>
          </p:txBody>
        </p:sp>
        <p:sp>
          <p:nvSpPr>
            <p:cNvPr id="78" name="Freeform 21"/>
            <p:cNvSpPr>
              <a:spLocks/>
            </p:cNvSpPr>
            <p:nvPr/>
          </p:nvSpPr>
          <p:spPr bwMode="gray">
            <a:xfrm>
              <a:off x="2938" y="2479"/>
              <a:ext cx="345" cy="287"/>
            </a:xfrm>
            <a:custGeom>
              <a:avLst/>
              <a:gdLst/>
              <a:ahLst/>
              <a:cxnLst>
                <a:cxn ang="0">
                  <a:pos x="580" y="597"/>
                </a:cxn>
                <a:cxn ang="0">
                  <a:pos x="532" y="637"/>
                </a:cxn>
                <a:cxn ang="0">
                  <a:pos x="521" y="670"/>
                </a:cxn>
                <a:cxn ang="0">
                  <a:pos x="479" y="683"/>
                </a:cxn>
                <a:cxn ang="0">
                  <a:pos x="444" y="708"/>
                </a:cxn>
                <a:cxn ang="0">
                  <a:pos x="406" y="763"/>
                </a:cxn>
                <a:cxn ang="0">
                  <a:pos x="355" y="788"/>
                </a:cxn>
                <a:cxn ang="0">
                  <a:pos x="296" y="773"/>
                </a:cxn>
                <a:cxn ang="0">
                  <a:pos x="242" y="759"/>
                </a:cxn>
                <a:cxn ang="0">
                  <a:pos x="187" y="740"/>
                </a:cxn>
                <a:cxn ang="0">
                  <a:pos x="130" y="746"/>
                </a:cxn>
                <a:cxn ang="0">
                  <a:pos x="2" y="391"/>
                </a:cxn>
                <a:cxn ang="0">
                  <a:pos x="48" y="391"/>
                </a:cxn>
                <a:cxn ang="0">
                  <a:pos x="93" y="385"/>
                </a:cxn>
                <a:cxn ang="0">
                  <a:pos x="153" y="366"/>
                </a:cxn>
                <a:cxn ang="0">
                  <a:pos x="164" y="311"/>
                </a:cxn>
                <a:cxn ang="0">
                  <a:pos x="164" y="263"/>
                </a:cxn>
                <a:cxn ang="0">
                  <a:pos x="189" y="246"/>
                </a:cxn>
                <a:cxn ang="0">
                  <a:pos x="219" y="254"/>
                </a:cxn>
                <a:cxn ang="0">
                  <a:pos x="256" y="244"/>
                </a:cxn>
                <a:cxn ang="0">
                  <a:pos x="275" y="271"/>
                </a:cxn>
                <a:cxn ang="0">
                  <a:pos x="345" y="301"/>
                </a:cxn>
                <a:cxn ang="0">
                  <a:pos x="399" y="288"/>
                </a:cxn>
                <a:cxn ang="0">
                  <a:pos x="431" y="303"/>
                </a:cxn>
                <a:cxn ang="0">
                  <a:pos x="488" y="336"/>
                </a:cxn>
                <a:cxn ang="0">
                  <a:pos x="525" y="370"/>
                </a:cxn>
                <a:cxn ang="0">
                  <a:pos x="555" y="414"/>
                </a:cxn>
                <a:cxn ang="0">
                  <a:pos x="582" y="408"/>
                </a:cxn>
                <a:cxn ang="0">
                  <a:pos x="612" y="406"/>
                </a:cxn>
                <a:cxn ang="0">
                  <a:pos x="601" y="332"/>
                </a:cxn>
                <a:cxn ang="0">
                  <a:pos x="551" y="326"/>
                </a:cxn>
                <a:cxn ang="0">
                  <a:pos x="513" y="275"/>
                </a:cxn>
                <a:cxn ang="0">
                  <a:pos x="517" y="227"/>
                </a:cxn>
                <a:cxn ang="0">
                  <a:pos x="526" y="179"/>
                </a:cxn>
                <a:cxn ang="0">
                  <a:pos x="526" y="124"/>
                </a:cxn>
                <a:cxn ang="0">
                  <a:pos x="517" y="97"/>
                </a:cxn>
                <a:cxn ang="0">
                  <a:pos x="536" y="67"/>
                </a:cxn>
                <a:cxn ang="0">
                  <a:pos x="555" y="31"/>
                </a:cxn>
                <a:cxn ang="0">
                  <a:pos x="595" y="11"/>
                </a:cxn>
                <a:cxn ang="0">
                  <a:pos x="643" y="8"/>
                </a:cxn>
                <a:cxn ang="0">
                  <a:pos x="721" y="25"/>
                </a:cxn>
                <a:cxn ang="0">
                  <a:pos x="744" y="38"/>
                </a:cxn>
                <a:cxn ang="0">
                  <a:pos x="759" y="36"/>
                </a:cxn>
                <a:cxn ang="0">
                  <a:pos x="778" y="50"/>
                </a:cxn>
                <a:cxn ang="0">
                  <a:pos x="824" y="69"/>
                </a:cxn>
                <a:cxn ang="0">
                  <a:pos x="885" y="97"/>
                </a:cxn>
                <a:cxn ang="0">
                  <a:pos x="904" y="134"/>
                </a:cxn>
                <a:cxn ang="0">
                  <a:pos x="921" y="177"/>
                </a:cxn>
                <a:cxn ang="0">
                  <a:pos x="902" y="225"/>
                </a:cxn>
                <a:cxn ang="0">
                  <a:pos x="895" y="258"/>
                </a:cxn>
                <a:cxn ang="0">
                  <a:pos x="904" y="300"/>
                </a:cxn>
                <a:cxn ang="0">
                  <a:pos x="893" y="328"/>
                </a:cxn>
                <a:cxn ang="0">
                  <a:pos x="883" y="364"/>
                </a:cxn>
                <a:cxn ang="0">
                  <a:pos x="866" y="397"/>
                </a:cxn>
                <a:cxn ang="0">
                  <a:pos x="845" y="424"/>
                </a:cxn>
                <a:cxn ang="0">
                  <a:pos x="881" y="452"/>
                </a:cxn>
                <a:cxn ang="0">
                  <a:pos x="834" y="475"/>
                </a:cxn>
                <a:cxn ang="0">
                  <a:pos x="761" y="496"/>
                </a:cxn>
                <a:cxn ang="0">
                  <a:pos x="721" y="509"/>
                </a:cxn>
                <a:cxn ang="0">
                  <a:pos x="679" y="525"/>
                </a:cxn>
                <a:cxn ang="0">
                  <a:pos x="639" y="551"/>
                </a:cxn>
                <a:cxn ang="0">
                  <a:pos x="645" y="574"/>
                </a:cxn>
                <a:cxn ang="0">
                  <a:pos x="647" y="591"/>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solidFill>
              <a:srgbClr val="FFFF00"/>
            </a:solidFill>
            <a:ln w="9525" cmpd="sng">
              <a:solidFill>
                <a:schemeClr val="folHlink"/>
              </a:solidFill>
              <a:prstDash val="solid"/>
              <a:round/>
              <a:headEnd/>
              <a:tailEnd/>
            </a:ln>
          </p:spPr>
          <p:txBody>
            <a:bodyPr/>
            <a:lstStyle/>
            <a:p>
              <a:endParaRPr lang="en-US"/>
            </a:p>
          </p:txBody>
        </p:sp>
        <p:sp>
          <p:nvSpPr>
            <p:cNvPr id="79" name="Freeform 22"/>
            <p:cNvSpPr>
              <a:spLocks/>
            </p:cNvSpPr>
            <p:nvPr/>
          </p:nvSpPr>
          <p:spPr bwMode="gray">
            <a:xfrm>
              <a:off x="2636" y="2413"/>
              <a:ext cx="363" cy="349"/>
            </a:xfrm>
            <a:custGeom>
              <a:avLst/>
              <a:gdLst/>
              <a:ahLst/>
              <a:cxnLst>
                <a:cxn ang="0">
                  <a:pos x="51" y="13"/>
                </a:cxn>
                <a:cxn ang="0">
                  <a:pos x="88" y="2"/>
                </a:cxn>
                <a:cxn ang="0">
                  <a:pos x="326" y="2"/>
                </a:cxn>
                <a:cxn ang="0">
                  <a:pos x="380" y="7"/>
                </a:cxn>
                <a:cxn ang="0">
                  <a:pos x="389" y="42"/>
                </a:cxn>
                <a:cxn ang="0">
                  <a:pos x="401" y="93"/>
                </a:cxn>
                <a:cxn ang="0">
                  <a:pos x="446" y="158"/>
                </a:cxn>
                <a:cxn ang="0">
                  <a:pos x="502" y="177"/>
                </a:cxn>
                <a:cxn ang="0">
                  <a:pos x="557" y="168"/>
                </a:cxn>
                <a:cxn ang="0">
                  <a:pos x="605" y="152"/>
                </a:cxn>
                <a:cxn ang="0">
                  <a:pos x="614" y="105"/>
                </a:cxn>
                <a:cxn ang="0">
                  <a:pos x="652" y="89"/>
                </a:cxn>
                <a:cxn ang="0">
                  <a:pos x="692" y="112"/>
                </a:cxn>
                <a:cxn ang="0">
                  <a:pos x="799" y="171"/>
                </a:cxn>
                <a:cxn ang="0">
                  <a:pos x="799" y="246"/>
                </a:cxn>
                <a:cxn ang="0">
                  <a:pos x="801" y="301"/>
                </a:cxn>
                <a:cxn ang="0">
                  <a:pos x="826" y="324"/>
                </a:cxn>
                <a:cxn ang="0">
                  <a:pos x="839" y="362"/>
                </a:cxn>
                <a:cxn ang="0">
                  <a:pos x="830" y="400"/>
                </a:cxn>
                <a:cxn ang="0">
                  <a:pos x="834" y="427"/>
                </a:cxn>
                <a:cxn ang="0">
                  <a:pos x="858" y="423"/>
                </a:cxn>
                <a:cxn ang="0">
                  <a:pos x="898" y="412"/>
                </a:cxn>
                <a:cxn ang="0">
                  <a:pos x="931" y="412"/>
                </a:cxn>
                <a:cxn ang="0">
                  <a:pos x="967" y="410"/>
                </a:cxn>
                <a:cxn ang="0">
                  <a:pos x="967" y="463"/>
                </a:cxn>
                <a:cxn ang="0">
                  <a:pos x="967" y="498"/>
                </a:cxn>
                <a:cxn ang="0">
                  <a:pos x="959" y="543"/>
                </a:cxn>
                <a:cxn ang="0">
                  <a:pos x="919" y="563"/>
                </a:cxn>
                <a:cxn ang="0">
                  <a:pos x="875" y="572"/>
                </a:cxn>
                <a:cxn ang="0">
                  <a:pos x="839" y="572"/>
                </a:cxn>
                <a:cxn ang="0">
                  <a:pos x="805" y="572"/>
                </a:cxn>
                <a:cxn ang="0">
                  <a:pos x="870" y="938"/>
                </a:cxn>
                <a:cxn ang="0">
                  <a:pos x="792" y="952"/>
                </a:cxn>
                <a:cxn ang="0">
                  <a:pos x="719" y="957"/>
                </a:cxn>
                <a:cxn ang="0">
                  <a:pos x="635" y="954"/>
                </a:cxn>
                <a:cxn ang="0">
                  <a:pos x="557" y="942"/>
                </a:cxn>
                <a:cxn ang="0">
                  <a:pos x="525" y="925"/>
                </a:cxn>
                <a:cxn ang="0">
                  <a:pos x="168" y="910"/>
                </a:cxn>
                <a:cxn ang="0">
                  <a:pos x="114" y="887"/>
                </a:cxn>
                <a:cxn ang="0">
                  <a:pos x="69" y="896"/>
                </a:cxn>
                <a:cxn ang="0">
                  <a:pos x="29" y="896"/>
                </a:cxn>
                <a:cxn ang="0">
                  <a:pos x="2" y="885"/>
                </a:cxn>
                <a:cxn ang="0">
                  <a:pos x="6" y="847"/>
                </a:cxn>
                <a:cxn ang="0">
                  <a:pos x="6" y="811"/>
                </a:cxn>
                <a:cxn ang="0">
                  <a:pos x="9" y="788"/>
                </a:cxn>
                <a:cxn ang="0">
                  <a:pos x="23" y="751"/>
                </a:cxn>
                <a:cxn ang="0">
                  <a:pos x="34" y="713"/>
                </a:cxn>
                <a:cxn ang="0">
                  <a:pos x="48" y="643"/>
                </a:cxn>
                <a:cxn ang="0">
                  <a:pos x="76" y="576"/>
                </a:cxn>
                <a:cxn ang="0">
                  <a:pos x="118" y="528"/>
                </a:cxn>
                <a:cxn ang="0">
                  <a:pos x="160" y="461"/>
                </a:cxn>
                <a:cxn ang="0">
                  <a:pos x="160" y="387"/>
                </a:cxn>
                <a:cxn ang="0">
                  <a:pos x="124" y="324"/>
                </a:cxn>
                <a:cxn ang="0">
                  <a:pos x="105" y="265"/>
                </a:cxn>
                <a:cxn ang="0">
                  <a:pos x="130" y="215"/>
                </a:cxn>
                <a:cxn ang="0">
                  <a:pos x="114" y="160"/>
                </a:cxn>
                <a:cxn ang="0">
                  <a:pos x="80" y="91"/>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solidFill>
              <a:srgbClr val="FFC000"/>
            </a:solidFill>
            <a:ln w="9525" cmpd="sng">
              <a:solidFill>
                <a:schemeClr val="folHlink"/>
              </a:solidFill>
              <a:prstDash val="solid"/>
              <a:round/>
              <a:headEnd/>
              <a:tailEnd/>
            </a:ln>
          </p:spPr>
          <p:txBody>
            <a:bodyPr/>
            <a:lstStyle/>
            <a:p>
              <a:endParaRPr lang="en-US"/>
            </a:p>
          </p:txBody>
        </p:sp>
        <p:sp>
          <p:nvSpPr>
            <p:cNvPr id="80" name="Freeform 23"/>
            <p:cNvSpPr>
              <a:spLocks/>
            </p:cNvSpPr>
            <p:nvPr/>
          </p:nvSpPr>
          <p:spPr bwMode="gray">
            <a:xfrm>
              <a:off x="3150" y="2308"/>
              <a:ext cx="55" cy="62"/>
            </a:xfrm>
            <a:custGeom>
              <a:avLst/>
              <a:gdLst/>
              <a:ahLst/>
              <a:cxnLst>
                <a:cxn ang="0">
                  <a:pos x="21" y="126"/>
                </a:cxn>
                <a:cxn ang="0">
                  <a:pos x="20" y="122"/>
                </a:cxn>
                <a:cxn ang="0">
                  <a:pos x="18" y="116"/>
                </a:cxn>
                <a:cxn ang="0">
                  <a:pos x="18" y="110"/>
                </a:cxn>
                <a:cxn ang="0">
                  <a:pos x="18" y="103"/>
                </a:cxn>
                <a:cxn ang="0">
                  <a:pos x="18" y="99"/>
                </a:cxn>
                <a:cxn ang="0">
                  <a:pos x="18" y="87"/>
                </a:cxn>
                <a:cxn ang="0">
                  <a:pos x="18" y="78"/>
                </a:cxn>
                <a:cxn ang="0">
                  <a:pos x="18" y="68"/>
                </a:cxn>
                <a:cxn ang="0">
                  <a:pos x="16" y="63"/>
                </a:cxn>
                <a:cxn ang="0">
                  <a:pos x="12" y="57"/>
                </a:cxn>
                <a:cxn ang="0">
                  <a:pos x="8" y="49"/>
                </a:cxn>
                <a:cxn ang="0">
                  <a:pos x="2" y="44"/>
                </a:cxn>
                <a:cxn ang="0">
                  <a:pos x="0" y="36"/>
                </a:cxn>
                <a:cxn ang="0">
                  <a:pos x="0" y="34"/>
                </a:cxn>
                <a:cxn ang="0">
                  <a:pos x="2" y="30"/>
                </a:cxn>
                <a:cxn ang="0">
                  <a:pos x="6" y="26"/>
                </a:cxn>
                <a:cxn ang="0">
                  <a:pos x="12" y="25"/>
                </a:cxn>
                <a:cxn ang="0">
                  <a:pos x="14" y="25"/>
                </a:cxn>
                <a:cxn ang="0">
                  <a:pos x="23" y="26"/>
                </a:cxn>
                <a:cxn ang="0">
                  <a:pos x="29" y="32"/>
                </a:cxn>
                <a:cxn ang="0">
                  <a:pos x="37" y="38"/>
                </a:cxn>
                <a:cxn ang="0">
                  <a:pos x="46" y="40"/>
                </a:cxn>
                <a:cxn ang="0">
                  <a:pos x="58" y="40"/>
                </a:cxn>
                <a:cxn ang="0">
                  <a:pos x="73" y="28"/>
                </a:cxn>
                <a:cxn ang="0">
                  <a:pos x="82" y="13"/>
                </a:cxn>
                <a:cxn ang="0">
                  <a:pos x="96" y="2"/>
                </a:cxn>
                <a:cxn ang="0">
                  <a:pos x="107" y="0"/>
                </a:cxn>
                <a:cxn ang="0">
                  <a:pos x="123" y="9"/>
                </a:cxn>
                <a:cxn ang="0">
                  <a:pos x="124" y="26"/>
                </a:cxn>
                <a:cxn ang="0">
                  <a:pos x="128" y="44"/>
                </a:cxn>
                <a:cxn ang="0">
                  <a:pos x="147" y="53"/>
                </a:cxn>
                <a:cxn ang="0">
                  <a:pos x="147" y="53"/>
                </a:cxn>
                <a:cxn ang="0">
                  <a:pos x="147" y="57"/>
                </a:cxn>
                <a:cxn ang="0">
                  <a:pos x="144" y="53"/>
                </a:cxn>
                <a:cxn ang="0">
                  <a:pos x="145" y="57"/>
                </a:cxn>
                <a:cxn ang="0">
                  <a:pos x="147" y="61"/>
                </a:cxn>
                <a:cxn ang="0">
                  <a:pos x="147" y="63"/>
                </a:cxn>
                <a:cxn ang="0">
                  <a:pos x="142" y="78"/>
                </a:cxn>
                <a:cxn ang="0">
                  <a:pos x="128" y="91"/>
                </a:cxn>
                <a:cxn ang="0">
                  <a:pos x="113" y="105"/>
                </a:cxn>
                <a:cxn ang="0">
                  <a:pos x="103" y="118"/>
                </a:cxn>
                <a:cxn ang="0">
                  <a:pos x="102" y="126"/>
                </a:cxn>
                <a:cxn ang="0">
                  <a:pos x="94" y="141"/>
                </a:cxn>
                <a:cxn ang="0">
                  <a:pos x="82" y="158"/>
                </a:cxn>
                <a:cxn ang="0">
                  <a:pos x="69" y="168"/>
                </a:cxn>
                <a:cxn ang="0">
                  <a:pos x="61" y="169"/>
                </a:cxn>
                <a:cxn ang="0">
                  <a:pos x="54" y="169"/>
                </a:cxn>
                <a:cxn ang="0">
                  <a:pos x="50" y="169"/>
                </a:cxn>
                <a:cxn ang="0">
                  <a:pos x="48" y="166"/>
                </a:cxn>
                <a:cxn ang="0">
                  <a:pos x="42" y="156"/>
                </a:cxn>
                <a:cxn ang="0">
                  <a:pos x="39" y="147"/>
                </a:cxn>
                <a:cxn ang="0">
                  <a:pos x="31" y="139"/>
                </a:cxn>
                <a:cxn ang="0">
                  <a:pos x="27" y="137"/>
                </a:cxn>
                <a:cxn ang="0">
                  <a:pos x="27" y="135"/>
                </a:cxn>
                <a:cxn ang="0">
                  <a:pos x="25" y="131"/>
                </a:cxn>
                <a:cxn ang="0">
                  <a:pos x="21" y="126"/>
                </a:cxn>
                <a:cxn ang="0">
                  <a:pos x="20" y="122"/>
                </a:cxn>
                <a:cxn ang="0">
                  <a:pos x="12" y="122"/>
                </a:cxn>
                <a:cxn ang="0">
                  <a:pos x="12" y="124"/>
                </a:cxn>
                <a:cxn ang="0">
                  <a:pos x="12" y="124"/>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solidFill>
              <a:srgbClr val="FF0000"/>
            </a:solidFill>
            <a:ln w="9525" cmpd="sng">
              <a:solidFill>
                <a:schemeClr val="folHlink"/>
              </a:solidFill>
              <a:prstDash val="solid"/>
              <a:round/>
              <a:headEnd/>
              <a:tailEnd/>
            </a:ln>
          </p:spPr>
          <p:txBody>
            <a:bodyPr/>
            <a:lstStyle/>
            <a:p>
              <a:endParaRPr lang="en-US"/>
            </a:p>
          </p:txBody>
        </p:sp>
        <p:sp>
          <p:nvSpPr>
            <p:cNvPr id="81" name="Freeform 24"/>
            <p:cNvSpPr>
              <a:spLocks/>
            </p:cNvSpPr>
            <p:nvPr/>
          </p:nvSpPr>
          <p:spPr bwMode="gray">
            <a:xfrm>
              <a:off x="2650" y="2087"/>
              <a:ext cx="563" cy="544"/>
            </a:xfrm>
            <a:custGeom>
              <a:avLst/>
              <a:gdLst/>
              <a:ahLst/>
              <a:cxnLst>
                <a:cxn ang="0">
                  <a:pos x="511" y="170"/>
                </a:cxn>
                <a:cxn ang="0">
                  <a:pos x="513" y="80"/>
                </a:cxn>
                <a:cxn ang="0">
                  <a:pos x="612" y="27"/>
                </a:cxn>
                <a:cxn ang="0">
                  <a:pos x="734" y="92"/>
                </a:cxn>
                <a:cxn ang="0">
                  <a:pos x="828" y="67"/>
                </a:cxn>
                <a:cxn ang="0">
                  <a:pos x="883" y="55"/>
                </a:cxn>
                <a:cxn ang="0">
                  <a:pos x="965" y="23"/>
                </a:cxn>
                <a:cxn ang="0">
                  <a:pos x="1030" y="21"/>
                </a:cxn>
                <a:cxn ang="0">
                  <a:pos x="1116" y="19"/>
                </a:cxn>
                <a:cxn ang="0">
                  <a:pos x="1188" y="4"/>
                </a:cxn>
                <a:cxn ang="0">
                  <a:pos x="1242" y="57"/>
                </a:cxn>
                <a:cxn ang="0">
                  <a:pos x="1312" y="65"/>
                </a:cxn>
                <a:cxn ang="0">
                  <a:pos x="1375" y="52"/>
                </a:cxn>
                <a:cxn ang="0">
                  <a:pos x="1450" y="107"/>
                </a:cxn>
                <a:cxn ang="0">
                  <a:pos x="1471" y="147"/>
                </a:cxn>
                <a:cxn ang="0">
                  <a:pos x="1473" y="199"/>
                </a:cxn>
                <a:cxn ang="0">
                  <a:pos x="1499" y="248"/>
                </a:cxn>
                <a:cxn ang="0">
                  <a:pos x="1431" y="326"/>
                </a:cxn>
                <a:cxn ang="0">
                  <a:pos x="1396" y="395"/>
                </a:cxn>
                <a:cxn ang="0">
                  <a:pos x="1375" y="521"/>
                </a:cxn>
                <a:cxn ang="0">
                  <a:pos x="1347" y="578"/>
                </a:cxn>
                <a:cxn ang="0">
                  <a:pos x="1322" y="624"/>
                </a:cxn>
                <a:cxn ang="0">
                  <a:pos x="1345" y="666"/>
                </a:cxn>
                <a:cxn ang="0">
                  <a:pos x="1351" y="719"/>
                </a:cxn>
                <a:cxn ang="0">
                  <a:pos x="1345" y="733"/>
                </a:cxn>
                <a:cxn ang="0">
                  <a:pos x="1351" y="775"/>
                </a:cxn>
                <a:cxn ang="0">
                  <a:pos x="1349" y="843"/>
                </a:cxn>
                <a:cxn ang="0">
                  <a:pos x="1358" y="893"/>
                </a:cxn>
                <a:cxn ang="0">
                  <a:pos x="1377" y="964"/>
                </a:cxn>
                <a:cxn ang="0">
                  <a:pos x="1433" y="1028"/>
                </a:cxn>
                <a:cxn ang="0">
                  <a:pos x="1375" y="1089"/>
                </a:cxn>
                <a:cxn ang="0">
                  <a:pos x="1314" y="1131"/>
                </a:cxn>
                <a:cxn ang="0">
                  <a:pos x="1286" y="1181"/>
                </a:cxn>
                <a:cxn ang="0">
                  <a:pos x="1291" y="1257"/>
                </a:cxn>
                <a:cxn ang="0">
                  <a:pos x="1274" y="1341"/>
                </a:cxn>
                <a:cxn ang="0">
                  <a:pos x="1360" y="1419"/>
                </a:cxn>
                <a:cxn ang="0">
                  <a:pos x="1368" y="1484"/>
                </a:cxn>
                <a:cxn ang="0">
                  <a:pos x="1316" y="1488"/>
                </a:cxn>
                <a:cxn ang="0">
                  <a:pos x="1261" y="1416"/>
                </a:cxn>
                <a:cxn ang="0">
                  <a:pos x="1171" y="1351"/>
                </a:cxn>
                <a:cxn ang="0">
                  <a:pos x="1074" y="1370"/>
                </a:cxn>
                <a:cxn ang="0">
                  <a:pos x="1015" y="1322"/>
                </a:cxn>
                <a:cxn ang="0">
                  <a:pos x="954" y="1324"/>
                </a:cxn>
                <a:cxn ang="0">
                  <a:pos x="870" y="1307"/>
                </a:cxn>
                <a:cxn ang="0">
                  <a:pos x="796" y="1324"/>
                </a:cxn>
                <a:cxn ang="0">
                  <a:pos x="797" y="1250"/>
                </a:cxn>
                <a:cxn ang="0">
                  <a:pos x="761" y="1175"/>
                </a:cxn>
                <a:cxn ang="0">
                  <a:pos x="654" y="1009"/>
                </a:cxn>
                <a:cxn ang="0">
                  <a:pos x="576" y="1009"/>
                </a:cxn>
                <a:cxn ang="0">
                  <a:pos x="494" y="1068"/>
                </a:cxn>
                <a:cxn ang="0">
                  <a:pos x="372" y="1011"/>
                </a:cxn>
                <a:cxn ang="0">
                  <a:pos x="342" y="904"/>
                </a:cxn>
                <a:cxn ang="0">
                  <a:pos x="38" y="901"/>
                </a:cxn>
                <a:cxn ang="0">
                  <a:pos x="15" y="864"/>
                </a:cxn>
                <a:cxn ang="0">
                  <a:pos x="59" y="803"/>
                </a:cxn>
                <a:cxn ang="0">
                  <a:pos x="164" y="778"/>
                </a:cxn>
                <a:cxn ang="0">
                  <a:pos x="172" y="824"/>
                </a:cxn>
                <a:cxn ang="0">
                  <a:pos x="263" y="758"/>
                </a:cxn>
                <a:cxn ang="0">
                  <a:pos x="317" y="664"/>
                </a:cxn>
                <a:cxn ang="0">
                  <a:pos x="368" y="538"/>
                </a:cxn>
                <a:cxn ang="0">
                  <a:pos x="433" y="445"/>
                </a:cxn>
                <a:cxn ang="0">
                  <a:pos x="460" y="30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solidFill>
              <a:srgbClr val="FF0000"/>
            </a:solidFill>
            <a:ln w="9525" cmpd="sng">
              <a:solidFill>
                <a:schemeClr val="folHlink"/>
              </a:solidFill>
              <a:prstDash val="solid"/>
              <a:round/>
              <a:headEnd/>
              <a:tailEnd/>
            </a:ln>
          </p:spPr>
          <p:txBody>
            <a:bodyPr/>
            <a:lstStyle/>
            <a:p>
              <a:endParaRPr lang="en-US"/>
            </a:p>
          </p:txBody>
        </p:sp>
        <p:sp>
          <p:nvSpPr>
            <p:cNvPr id="82" name="Freeform 25"/>
            <p:cNvSpPr>
              <a:spLocks/>
            </p:cNvSpPr>
            <p:nvPr/>
          </p:nvSpPr>
          <p:spPr bwMode="gray">
            <a:xfrm>
              <a:off x="2713" y="1924"/>
              <a:ext cx="384" cy="245"/>
            </a:xfrm>
            <a:custGeom>
              <a:avLst/>
              <a:gdLst/>
              <a:ahLst/>
              <a:cxnLst>
                <a:cxn ang="0">
                  <a:pos x="1022" y="431"/>
                </a:cxn>
                <a:cxn ang="0">
                  <a:pos x="994" y="398"/>
                </a:cxn>
                <a:cxn ang="0">
                  <a:pos x="958" y="375"/>
                </a:cxn>
                <a:cxn ang="0">
                  <a:pos x="942" y="333"/>
                </a:cxn>
                <a:cxn ang="0">
                  <a:pos x="916" y="307"/>
                </a:cxn>
                <a:cxn ang="0">
                  <a:pos x="870" y="278"/>
                </a:cxn>
                <a:cxn ang="0">
                  <a:pos x="856" y="253"/>
                </a:cxn>
                <a:cxn ang="0">
                  <a:pos x="855" y="236"/>
                </a:cxn>
                <a:cxn ang="0">
                  <a:pos x="803" y="215"/>
                </a:cxn>
                <a:cxn ang="0">
                  <a:pos x="776" y="173"/>
                </a:cxn>
                <a:cxn ang="0">
                  <a:pos x="748" y="173"/>
                </a:cxn>
                <a:cxn ang="0">
                  <a:pos x="719" y="152"/>
                </a:cxn>
                <a:cxn ang="0">
                  <a:pos x="729" y="116"/>
                </a:cxn>
                <a:cxn ang="0">
                  <a:pos x="729" y="76"/>
                </a:cxn>
                <a:cxn ang="0">
                  <a:pos x="692" y="34"/>
                </a:cxn>
                <a:cxn ang="0">
                  <a:pos x="666" y="9"/>
                </a:cxn>
                <a:cxn ang="0">
                  <a:pos x="624" y="3"/>
                </a:cxn>
                <a:cxn ang="0">
                  <a:pos x="586" y="36"/>
                </a:cxn>
                <a:cxn ang="0">
                  <a:pos x="540" y="85"/>
                </a:cxn>
                <a:cxn ang="0">
                  <a:pos x="469" y="141"/>
                </a:cxn>
                <a:cxn ang="0">
                  <a:pos x="368" y="162"/>
                </a:cxn>
                <a:cxn ang="0">
                  <a:pos x="378" y="175"/>
                </a:cxn>
                <a:cxn ang="0">
                  <a:pos x="353" y="219"/>
                </a:cxn>
                <a:cxn ang="0">
                  <a:pos x="305" y="242"/>
                </a:cxn>
                <a:cxn ang="0">
                  <a:pos x="242" y="250"/>
                </a:cxn>
                <a:cxn ang="0">
                  <a:pos x="204" y="265"/>
                </a:cxn>
                <a:cxn ang="0">
                  <a:pos x="175" y="269"/>
                </a:cxn>
                <a:cxn ang="0">
                  <a:pos x="154" y="261"/>
                </a:cxn>
                <a:cxn ang="0">
                  <a:pos x="101" y="278"/>
                </a:cxn>
                <a:cxn ang="0">
                  <a:pos x="69" y="292"/>
                </a:cxn>
                <a:cxn ang="0">
                  <a:pos x="32" y="347"/>
                </a:cxn>
                <a:cxn ang="0">
                  <a:pos x="0" y="393"/>
                </a:cxn>
                <a:cxn ang="0">
                  <a:pos x="13" y="408"/>
                </a:cxn>
                <a:cxn ang="0">
                  <a:pos x="13" y="433"/>
                </a:cxn>
                <a:cxn ang="0">
                  <a:pos x="29" y="505"/>
                </a:cxn>
                <a:cxn ang="0">
                  <a:pos x="74" y="583"/>
                </a:cxn>
                <a:cxn ang="0">
                  <a:pos x="107" y="618"/>
                </a:cxn>
                <a:cxn ang="0">
                  <a:pos x="137" y="650"/>
                </a:cxn>
                <a:cxn ang="0">
                  <a:pos x="154" y="635"/>
                </a:cxn>
                <a:cxn ang="0">
                  <a:pos x="191" y="581"/>
                </a:cxn>
                <a:cxn ang="0">
                  <a:pos x="254" y="574"/>
                </a:cxn>
                <a:cxn ang="0">
                  <a:pos x="339" y="578"/>
                </a:cxn>
                <a:cxn ang="0">
                  <a:pos x="339" y="557"/>
                </a:cxn>
                <a:cxn ang="0">
                  <a:pos x="362" y="492"/>
                </a:cxn>
                <a:cxn ang="0">
                  <a:pos x="416" y="457"/>
                </a:cxn>
                <a:cxn ang="0">
                  <a:pos x="473" y="505"/>
                </a:cxn>
                <a:cxn ang="0">
                  <a:pos x="528" y="528"/>
                </a:cxn>
                <a:cxn ang="0">
                  <a:pos x="605" y="540"/>
                </a:cxn>
                <a:cxn ang="0">
                  <a:pos x="647" y="528"/>
                </a:cxn>
                <a:cxn ang="0">
                  <a:pos x="675" y="496"/>
                </a:cxn>
                <a:cxn ang="0">
                  <a:pos x="704" y="496"/>
                </a:cxn>
                <a:cxn ang="0">
                  <a:pos x="732" y="496"/>
                </a:cxn>
                <a:cxn ang="0">
                  <a:pos x="776" y="477"/>
                </a:cxn>
                <a:cxn ang="0">
                  <a:pos x="807" y="475"/>
                </a:cxn>
                <a:cxn ang="0">
                  <a:pos x="839" y="475"/>
                </a:cxn>
                <a:cxn ang="0">
                  <a:pos x="868" y="446"/>
                </a:cxn>
                <a:cxn ang="0">
                  <a:pos x="923" y="454"/>
                </a:cxn>
                <a:cxn ang="0">
                  <a:pos x="977" y="467"/>
                </a:cxn>
                <a:cxn ang="0">
                  <a:pos x="1017" y="45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solidFill>
              <a:schemeClr val="bg1">
                <a:lumMod val="95000"/>
              </a:schemeClr>
            </a:solidFill>
            <a:ln w="9525" cmpd="sng">
              <a:solidFill>
                <a:schemeClr val="folHlink"/>
              </a:solidFill>
              <a:prstDash val="solid"/>
              <a:round/>
              <a:headEnd/>
              <a:tailEnd/>
            </a:ln>
          </p:spPr>
          <p:txBody>
            <a:bodyPr/>
            <a:lstStyle/>
            <a:p>
              <a:endParaRPr lang="en-US"/>
            </a:p>
          </p:txBody>
        </p:sp>
        <p:sp>
          <p:nvSpPr>
            <p:cNvPr id="83" name="Freeform 26"/>
            <p:cNvSpPr>
              <a:spLocks/>
            </p:cNvSpPr>
            <p:nvPr/>
          </p:nvSpPr>
          <p:spPr bwMode="gray">
            <a:xfrm>
              <a:off x="2609" y="2134"/>
              <a:ext cx="233" cy="255"/>
            </a:xfrm>
            <a:custGeom>
              <a:avLst/>
              <a:gdLst/>
              <a:ahLst/>
              <a:cxnLst>
                <a:cxn ang="0">
                  <a:pos x="409" y="126"/>
                </a:cxn>
                <a:cxn ang="0">
                  <a:pos x="391" y="143"/>
                </a:cxn>
                <a:cxn ang="0">
                  <a:pos x="357" y="133"/>
                </a:cxn>
                <a:cxn ang="0">
                  <a:pos x="306" y="120"/>
                </a:cxn>
                <a:cxn ang="0">
                  <a:pos x="254" y="109"/>
                </a:cxn>
                <a:cxn ang="0">
                  <a:pos x="206" y="111"/>
                </a:cxn>
                <a:cxn ang="0">
                  <a:pos x="176" y="131"/>
                </a:cxn>
                <a:cxn ang="0">
                  <a:pos x="170" y="168"/>
                </a:cxn>
                <a:cxn ang="0">
                  <a:pos x="170" y="208"/>
                </a:cxn>
                <a:cxn ang="0">
                  <a:pos x="201" y="200"/>
                </a:cxn>
                <a:cxn ang="0">
                  <a:pos x="229" y="191"/>
                </a:cxn>
                <a:cxn ang="0">
                  <a:pos x="262" y="204"/>
                </a:cxn>
                <a:cxn ang="0">
                  <a:pos x="264" y="248"/>
                </a:cxn>
                <a:cxn ang="0">
                  <a:pos x="224" y="294"/>
                </a:cxn>
                <a:cxn ang="0">
                  <a:pos x="277" y="338"/>
                </a:cxn>
                <a:cxn ang="0">
                  <a:pos x="275" y="385"/>
                </a:cxn>
                <a:cxn ang="0">
                  <a:pos x="262" y="442"/>
                </a:cxn>
                <a:cxn ang="0">
                  <a:pos x="252" y="473"/>
                </a:cxn>
                <a:cxn ang="0">
                  <a:pos x="239" y="488"/>
                </a:cxn>
                <a:cxn ang="0">
                  <a:pos x="225" y="469"/>
                </a:cxn>
                <a:cxn ang="0">
                  <a:pos x="203" y="479"/>
                </a:cxn>
                <a:cxn ang="0">
                  <a:pos x="163" y="471"/>
                </a:cxn>
                <a:cxn ang="0">
                  <a:pos x="132" y="444"/>
                </a:cxn>
                <a:cxn ang="0">
                  <a:pos x="105" y="477"/>
                </a:cxn>
                <a:cxn ang="0">
                  <a:pos x="54" y="484"/>
                </a:cxn>
                <a:cxn ang="0">
                  <a:pos x="46" y="524"/>
                </a:cxn>
                <a:cxn ang="0">
                  <a:pos x="50" y="549"/>
                </a:cxn>
                <a:cxn ang="0">
                  <a:pos x="73" y="566"/>
                </a:cxn>
                <a:cxn ang="0">
                  <a:pos x="63" y="586"/>
                </a:cxn>
                <a:cxn ang="0">
                  <a:pos x="50" y="578"/>
                </a:cxn>
                <a:cxn ang="0">
                  <a:pos x="25" y="582"/>
                </a:cxn>
                <a:cxn ang="0">
                  <a:pos x="2" y="607"/>
                </a:cxn>
                <a:cxn ang="0">
                  <a:pos x="40" y="650"/>
                </a:cxn>
                <a:cxn ang="0">
                  <a:pos x="84" y="694"/>
                </a:cxn>
                <a:cxn ang="0">
                  <a:pos x="122" y="671"/>
                </a:cxn>
                <a:cxn ang="0">
                  <a:pos x="149" y="662"/>
                </a:cxn>
                <a:cxn ang="0">
                  <a:pos x="164" y="671"/>
                </a:cxn>
                <a:cxn ang="0">
                  <a:pos x="191" y="681"/>
                </a:cxn>
                <a:cxn ang="0">
                  <a:pos x="239" y="656"/>
                </a:cxn>
                <a:cxn ang="0">
                  <a:pos x="267" y="656"/>
                </a:cxn>
                <a:cxn ang="0">
                  <a:pos x="264" y="679"/>
                </a:cxn>
                <a:cxn ang="0">
                  <a:pos x="290" y="696"/>
                </a:cxn>
                <a:cxn ang="0">
                  <a:pos x="346" y="666"/>
                </a:cxn>
                <a:cxn ang="0">
                  <a:pos x="372" y="628"/>
                </a:cxn>
                <a:cxn ang="0">
                  <a:pos x="412" y="601"/>
                </a:cxn>
                <a:cxn ang="0">
                  <a:pos x="424" y="551"/>
                </a:cxn>
                <a:cxn ang="0">
                  <a:pos x="428" y="498"/>
                </a:cxn>
                <a:cxn ang="0">
                  <a:pos x="449" y="441"/>
                </a:cxn>
                <a:cxn ang="0">
                  <a:pos x="498" y="387"/>
                </a:cxn>
                <a:cxn ang="0">
                  <a:pos x="525" y="351"/>
                </a:cxn>
                <a:cxn ang="0">
                  <a:pos x="546" y="307"/>
                </a:cxn>
                <a:cxn ang="0">
                  <a:pos x="561" y="208"/>
                </a:cxn>
                <a:cxn ang="0">
                  <a:pos x="567" y="177"/>
                </a:cxn>
                <a:cxn ang="0">
                  <a:pos x="575" y="147"/>
                </a:cxn>
                <a:cxn ang="0">
                  <a:pos x="584" y="112"/>
                </a:cxn>
                <a:cxn ang="0">
                  <a:pos x="616" y="67"/>
                </a:cxn>
                <a:cxn ang="0">
                  <a:pos x="618" y="15"/>
                </a:cxn>
                <a:cxn ang="0">
                  <a:pos x="536" y="0"/>
                </a:cxn>
                <a:cxn ang="0">
                  <a:pos x="487" y="2"/>
                </a:cxn>
                <a:cxn ang="0">
                  <a:pos x="441" y="38"/>
                </a:cxn>
                <a:cxn ang="0">
                  <a:pos x="418" y="97"/>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solidFill>
              <a:srgbClr val="FFC000"/>
            </a:solidFill>
            <a:ln w="9525" cmpd="sng">
              <a:solidFill>
                <a:schemeClr val="folHlink"/>
              </a:solidFill>
              <a:prstDash val="solid"/>
              <a:round/>
              <a:headEnd/>
              <a:tailEnd/>
            </a:ln>
          </p:spPr>
          <p:txBody>
            <a:bodyPr/>
            <a:lstStyle/>
            <a:p>
              <a:endParaRPr lang="en-US"/>
            </a:p>
          </p:txBody>
        </p:sp>
        <p:sp>
          <p:nvSpPr>
            <p:cNvPr id="84" name="Freeform 27"/>
            <p:cNvSpPr>
              <a:spLocks/>
            </p:cNvSpPr>
            <p:nvPr/>
          </p:nvSpPr>
          <p:spPr bwMode="gray">
            <a:xfrm>
              <a:off x="2642" y="2374"/>
              <a:ext cx="28" cy="37"/>
            </a:xfrm>
            <a:custGeom>
              <a:avLst/>
              <a:gdLst/>
              <a:ahLst/>
              <a:cxnLst>
                <a:cxn ang="0">
                  <a:pos x="21" y="97"/>
                </a:cxn>
                <a:cxn ang="0">
                  <a:pos x="29" y="95"/>
                </a:cxn>
                <a:cxn ang="0">
                  <a:pos x="33" y="90"/>
                </a:cxn>
                <a:cxn ang="0">
                  <a:pos x="36" y="84"/>
                </a:cxn>
                <a:cxn ang="0">
                  <a:pos x="36" y="74"/>
                </a:cxn>
                <a:cxn ang="0">
                  <a:pos x="36" y="65"/>
                </a:cxn>
                <a:cxn ang="0">
                  <a:pos x="36" y="55"/>
                </a:cxn>
                <a:cxn ang="0">
                  <a:pos x="36" y="46"/>
                </a:cxn>
                <a:cxn ang="0">
                  <a:pos x="38" y="38"/>
                </a:cxn>
                <a:cxn ang="0">
                  <a:pos x="42" y="32"/>
                </a:cxn>
                <a:cxn ang="0">
                  <a:pos x="46" y="29"/>
                </a:cxn>
                <a:cxn ang="0">
                  <a:pos x="50" y="25"/>
                </a:cxn>
                <a:cxn ang="0">
                  <a:pos x="55" y="23"/>
                </a:cxn>
                <a:cxn ang="0">
                  <a:pos x="59" y="19"/>
                </a:cxn>
                <a:cxn ang="0">
                  <a:pos x="65" y="17"/>
                </a:cxn>
                <a:cxn ang="0">
                  <a:pos x="69" y="13"/>
                </a:cxn>
                <a:cxn ang="0">
                  <a:pos x="73" y="9"/>
                </a:cxn>
                <a:cxn ang="0">
                  <a:pos x="73" y="8"/>
                </a:cxn>
                <a:cxn ang="0">
                  <a:pos x="71" y="8"/>
                </a:cxn>
                <a:cxn ang="0">
                  <a:pos x="67" y="6"/>
                </a:cxn>
                <a:cxn ang="0">
                  <a:pos x="65" y="4"/>
                </a:cxn>
                <a:cxn ang="0">
                  <a:pos x="61" y="2"/>
                </a:cxn>
                <a:cxn ang="0">
                  <a:pos x="57" y="2"/>
                </a:cxn>
                <a:cxn ang="0">
                  <a:pos x="55"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solidFill>
              <a:srgbClr val="FFFFCC"/>
            </a:solidFill>
            <a:ln w="9525" cmpd="sng">
              <a:solidFill>
                <a:schemeClr val="folHlink"/>
              </a:solidFill>
              <a:round/>
              <a:headEnd/>
              <a:tailEnd/>
            </a:ln>
          </p:spPr>
          <p:txBody>
            <a:bodyPr/>
            <a:lstStyle/>
            <a:p>
              <a:endParaRPr lang="en-US"/>
            </a:p>
          </p:txBody>
        </p:sp>
        <p:sp>
          <p:nvSpPr>
            <p:cNvPr id="85" name="Freeform 28"/>
            <p:cNvSpPr>
              <a:spLocks/>
            </p:cNvSpPr>
            <p:nvPr/>
          </p:nvSpPr>
          <p:spPr bwMode="gray">
            <a:xfrm>
              <a:off x="2642" y="2374"/>
              <a:ext cx="28" cy="37"/>
            </a:xfrm>
            <a:custGeom>
              <a:avLst/>
              <a:gdLst/>
              <a:ahLst/>
              <a:cxnLst>
                <a:cxn ang="0">
                  <a:pos x="21" y="97"/>
                </a:cxn>
                <a:cxn ang="0">
                  <a:pos x="21" y="97"/>
                </a:cxn>
                <a:cxn ang="0">
                  <a:pos x="29" y="95"/>
                </a:cxn>
                <a:cxn ang="0">
                  <a:pos x="33" y="90"/>
                </a:cxn>
                <a:cxn ang="0">
                  <a:pos x="36" y="84"/>
                </a:cxn>
                <a:cxn ang="0">
                  <a:pos x="36" y="74"/>
                </a:cxn>
                <a:cxn ang="0">
                  <a:pos x="36" y="65"/>
                </a:cxn>
                <a:cxn ang="0">
                  <a:pos x="36" y="55"/>
                </a:cxn>
                <a:cxn ang="0">
                  <a:pos x="36" y="46"/>
                </a:cxn>
                <a:cxn ang="0">
                  <a:pos x="38" y="38"/>
                </a:cxn>
                <a:cxn ang="0">
                  <a:pos x="38" y="38"/>
                </a:cxn>
                <a:cxn ang="0">
                  <a:pos x="42" y="32"/>
                </a:cxn>
                <a:cxn ang="0">
                  <a:pos x="46" y="29"/>
                </a:cxn>
                <a:cxn ang="0">
                  <a:pos x="50" y="25"/>
                </a:cxn>
                <a:cxn ang="0">
                  <a:pos x="55" y="23"/>
                </a:cxn>
                <a:cxn ang="0">
                  <a:pos x="59" y="19"/>
                </a:cxn>
                <a:cxn ang="0">
                  <a:pos x="65" y="17"/>
                </a:cxn>
                <a:cxn ang="0">
                  <a:pos x="69" y="13"/>
                </a:cxn>
                <a:cxn ang="0">
                  <a:pos x="73" y="9"/>
                </a:cxn>
                <a:cxn ang="0">
                  <a:pos x="73" y="9"/>
                </a:cxn>
                <a:cxn ang="0">
                  <a:pos x="73" y="8"/>
                </a:cxn>
                <a:cxn ang="0">
                  <a:pos x="71" y="8"/>
                </a:cxn>
                <a:cxn ang="0">
                  <a:pos x="67" y="6"/>
                </a:cxn>
                <a:cxn ang="0">
                  <a:pos x="65" y="4"/>
                </a:cxn>
                <a:cxn ang="0">
                  <a:pos x="61" y="2"/>
                </a:cxn>
                <a:cxn ang="0">
                  <a:pos x="57" y="2"/>
                </a:cxn>
                <a:cxn ang="0">
                  <a:pos x="55" y="0"/>
                </a:cxn>
                <a:cxn ang="0">
                  <a:pos x="54"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1" y="97"/>
                  </a:lnTo>
                  <a:lnTo>
                    <a:pt x="29" y="95"/>
                  </a:lnTo>
                  <a:lnTo>
                    <a:pt x="33" y="90"/>
                  </a:lnTo>
                  <a:lnTo>
                    <a:pt x="36" y="84"/>
                  </a:lnTo>
                  <a:lnTo>
                    <a:pt x="36" y="74"/>
                  </a:lnTo>
                  <a:lnTo>
                    <a:pt x="36" y="65"/>
                  </a:lnTo>
                  <a:lnTo>
                    <a:pt x="36" y="55"/>
                  </a:lnTo>
                  <a:lnTo>
                    <a:pt x="36" y="46"/>
                  </a:lnTo>
                  <a:lnTo>
                    <a:pt x="38" y="38"/>
                  </a:lnTo>
                  <a:lnTo>
                    <a:pt x="38" y="38"/>
                  </a:lnTo>
                  <a:lnTo>
                    <a:pt x="42" y="32"/>
                  </a:lnTo>
                  <a:lnTo>
                    <a:pt x="46" y="29"/>
                  </a:lnTo>
                  <a:lnTo>
                    <a:pt x="50" y="25"/>
                  </a:lnTo>
                  <a:lnTo>
                    <a:pt x="55" y="23"/>
                  </a:lnTo>
                  <a:lnTo>
                    <a:pt x="59" y="19"/>
                  </a:lnTo>
                  <a:lnTo>
                    <a:pt x="65" y="17"/>
                  </a:lnTo>
                  <a:lnTo>
                    <a:pt x="69" y="13"/>
                  </a:lnTo>
                  <a:lnTo>
                    <a:pt x="73" y="9"/>
                  </a:lnTo>
                  <a:lnTo>
                    <a:pt x="73" y="9"/>
                  </a:lnTo>
                  <a:lnTo>
                    <a:pt x="73" y="8"/>
                  </a:lnTo>
                  <a:lnTo>
                    <a:pt x="71" y="8"/>
                  </a:lnTo>
                  <a:lnTo>
                    <a:pt x="67" y="6"/>
                  </a:lnTo>
                  <a:lnTo>
                    <a:pt x="65" y="4"/>
                  </a:lnTo>
                  <a:lnTo>
                    <a:pt x="61" y="2"/>
                  </a:lnTo>
                  <a:lnTo>
                    <a:pt x="57" y="2"/>
                  </a:lnTo>
                  <a:lnTo>
                    <a:pt x="55" y="0"/>
                  </a:lnTo>
                  <a:lnTo>
                    <a:pt x="54" y="0"/>
                  </a:lnTo>
                  <a:lnTo>
                    <a:pt x="54" y="0"/>
                  </a:lnTo>
                  <a:lnTo>
                    <a:pt x="48" y="2"/>
                  </a:lnTo>
                  <a:lnTo>
                    <a:pt x="42" y="6"/>
                  </a:lnTo>
                  <a:lnTo>
                    <a:pt x="34" y="11"/>
                  </a:lnTo>
                  <a:lnTo>
                    <a:pt x="25" y="17"/>
                  </a:lnTo>
                  <a:lnTo>
                    <a:pt x="17" y="25"/>
                  </a:lnTo>
                  <a:lnTo>
                    <a:pt x="10" y="30"/>
                  </a:lnTo>
                  <a:lnTo>
                    <a:pt x="4" y="36"/>
                  </a:lnTo>
                  <a:lnTo>
                    <a:pt x="0" y="42"/>
                  </a:lnTo>
                  <a:lnTo>
                    <a:pt x="2" y="42"/>
                  </a:lnTo>
                  <a:lnTo>
                    <a:pt x="2" y="42"/>
                  </a:lnTo>
                  <a:lnTo>
                    <a:pt x="4" y="50"/>
                  </a:lnTo>
                  <a:lnTo>
                    <a:pt x="6" y="55"/>
                  </a:lnTo>
                  <a:lnTo>
                    <a:pt x="8" y="63"/>
                  </a:lnTo>
                  <a:lnTo>
                    <a:pt x="10" y="69"/>
                  </a:lnTo>
                  <a:lnTo>
                    <a:pt x="13" y="76"/>
                  </a:lnTo>
                  <a:lnTo>
                    <a:pt x="15" y="82"/>
                  </a:lnTo>
                  <a:lnTo>
                    <a:pt x="19" y="92"/>
                  </a:lnTo>
                  <a:lnTo>
                    <a:pt x="21" y="101"/>
                  </a:lnTo>
                  <a:lnTo>
                    <a:pt x="21" y="97"/>
                  </a:lnTo>
                </a:path>
              </a:pathLst>
            </a:custGeom>
            <a:solidFill>
              <a:srgbClr val="FFFFCC"/>
            </a:solidFill>
            <a:ln w="9525" cmpd="sng">
              <a:solidFill>
                <a:schemeClr val="folHlink"/>
              </a:solidFill>
              <a:prstDash val="solid"/>
              <a:round/>
              <a:headEnd/>
              <a:tailEnd/>
            </a:ln>
          </p:spPr>
          <p:txBody>
            <a:bodyPr/>
            <a:lstStyle/>
            <a:p>
              <a:endParaRPr lang="en-US"/>
            </a:p>
          </p:txBody>
        </p:sp>
        <p:sp>
          <p:nvSpPr>
            <p:cNvPr id="86" name="Freeform 29"/>
            <p:cNvSpPr>
              <a:spLocks/>
            </p:cNvSpPr>
            <p:nvPr/>
          </p:nvSpPr>
          <p:spPr bwMode="gray">
            <a:xfrm>
              <a:off x="2543" y="2178"/>
              <a:ext cx="170" cy="174"/>
            </a:xfrm>
            <a:custGeom>
              <a:avLst/>
              <a:gdLst/>
              <a:ahLst/>
              <a:cxnLst>
                <a:cxn ang="0">
                  <a:pos x="351" y="11"/>
                </a:cxn>
                <a:cxn ang="0">
                  <a:pos x="347" y="27"/>
                </a:cxn>
                <a:cxn ang="0">
                  <a:pos x="345" y="42"/>
                </a:cxn>
                <a:cxn ang="0">
                  <a:pos x="345" y="67"/>
                </a:cxn>
                <a:cxn ang="0">
                  <a:pos x="345" y="88"/>
                </a:cxn>
                <a:cxn ang="0">
                  <a:pos x="364" y="86"/>
                </a:cxn>
                <a:cxn ang="0">
                  <a:pos x="379" y="78"/>
                </a:cxn>
                <a:cxn ang="0">
                  <a:pos x="395" y="73"/>
                </a:cxn>
                <a:cxn ang="0">
                  <a:pos x="414" y="71"/>
                </a:cxn>
                <a:cxn ang="0">
                  <a:pos x="433" y="78"/>
                </a:cxn>
                <a:cxn ang="0">
                  <a:pos x="446" y="103"/>
                </a:cxn>
                <a:cxn ang="0">
                  <a:pos x="439" y="128"/>
                </a:cxn>
                <a:cxn ang="0">
                  <a:pos x="406" y="153"/>
                </a:cxn>
                <a:cxn ang="0">
                  <a:pos x="402" y="183"/>
                </a:cxn>
                <a:cxn ang="0">
                  <a:pos x="437" y="204"/>
                </a:cxn>
                <a:cxn ang="0">
                  <a:pos x="454" y="227"/>
                </a:cxn>
                <a:cxn ang="0">
                  <a:pos x="452" y="258"/>
                </a:cxn>
                <a:cxn ang="0">
                  <a:pos x="444" y="290"/>
                </a:cxn>
                <a:cxn ang="0">
                  <a:pos x="437" y="322"/>
                </a:cxn>
                <a:cxn ang="0">
                  <a:pos x="429" y="345"/>
                </a:cxn>
                <a:cxn ang="0">
                  <a:pos x="427" y="357"/>
                </a:cxn>
                <a:cxn ang="0">
                  <a:pos x="418" y="368"/>
                </a:cxn>
                <a:cxn ang="0">
                  <a:pos x="412" y="366"/>
                </a:cxn>
                <a:cxn ang="0">
                  <a:pos x="400" y="353"/>
                </a:cxn>
                <a:cxn ang="0">
                  <a:pos x="393" y="349"/>
                </a:cxn>
                <a:cxn ang="0">
                  <a:pos x="378" y="359"/>
                </a:cxn>
                <a:cxn ang="0">
                  <a:pos x="360" y="363"/>
                </a:cxn>
                <a:cxn ang="0">
                  <a:pos x="334" y="343"/>
                </a:cxn>
                <a:cxn ang="0">
                  <a:pos x="313" y="324"/>
                </a:cxn>
                <a:cxn ang="0">
                  <a:pos x="297" y="332"/>
                </a:cxn>
                <a:cxn ang="0">
                  <a:pos x="284" y="353"/>
                </a:cxn>
                <a:cxn ang="0">
                  <a:pos x="265" y="364"/>
                </a:cxn>
                <a:cxn ang="0">
                  <a:pos x="229" y="364"/>
                </a:cxn>
                <a:cxn ang="0">
                  <a:pos x="221" y="395"/>
                </a:cxn>
                <a:cxn ang="0">
                  <a:pos x="221" y="408"/>
                </a:cxn>
                <a:cxn ang="0">
                  <a:pos x="221" y="422"/>
                </a:cxn>
                <a:cxn ang="0">
                  <a:pos x="233" y="437"/>
                </a:cxn>
                <a:cxn ang="0">
                  <a:pos x="248" y="446"/>
                </a:cxn>
                <a:cxn ang="0">
                  <a:pos x="244" y="452"/>
                </a:cxn>
                <a:cxn ang="0">
                  <a:pos x="238" y="466"/>
                </a:cxn>
                <a:cxn ang="0">
                  <a:pos x="234" y="467"/>
                </a:cxn>
                <a:cxn ang="0">
                  <a:pos x="221" y="456"/>
                </a:cxn>
                <a:cxn ang="0">
                  <a:pos x="210" y="456"/>
                </a:cxn>
                <a:cxn ang="0">
                  <a:pos x="191" y="471"/>
                </a:cxn>
                <a:cxn ang="0">
                  <a:pos x="175" y="477"/>
                </a:cxn>
                <a:cxn ang="0">
                  <a:pos x="158" y="452"/>
                </a:cxn>
                <a:cxn ang="0">
                  <a:pos x="139" y="431"/>
                </a:cxn>
                <a:cxn ang="0">
                  <a:pos x="118" y="414"/>
                </a:cxn>
                <a:cxn ang="0">
                  <a:pos x="95" y="393"/>
                </a:cxn>
                <a:cxn ang="0">
                  <a:pos x="78" y="368"/>
                </a:cxn>
                <a:cxn ang="0">
                  <a:pos x="63" y="336"/>
                </a:cxn>
                <a:cxn ang="0">
                  <a:pos x="49" y="319"/>
                </a:cxn>
                <a:cxn ang="0">
                  <a:pos x="30" y="296"/>
                </a:cxn>
                <a:cxn ang="0">
                  <a:pos x="13" y="269"/>
                </a:cxn>
                <a:cxn ang="0">
                  <a:pos x="2" y="242"/>
                </a:cxn>
                <a:cxn ang="0">
                  <a:pos x="6" y="231"/>
                </a:cxn>
                <a:cxn ang="0">
                  <a:pos x="27" y="208"/>
                </a:cxn>
                <a:cxn ang="0">
                  <a:pos x="46" y="160"/>
                </a:cxn>
                <a:cxn ang="0">
                  <a:pos x="61" y="113"/>
                </a:cxn>
                <a:cxn ang="0">
                  <a:pos x="204" y="94"/>
                </a:cxn>
                <a:cxn ang="0">
                  <a:pos x="360" y="4"/>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solidFill>
              <a:srgbClr val="FFC000"/>
            </a:solidFill>
            <a:ln w="9525" cmpd="sng">
              <a:solidFill>
                <a:schemeClr val="folHlink"/>
              </a:solidFill>
              <a:prstDash val="solid"/>
              <a:round/>
              <a:headEnd/>
              <a:tailEnd/>
            </a:ln>
          </p:spPr>
          <p:txBody>
            <a:bodyPr/>
            <a:lstStyle/>
            <a:p>
              <a:endParaRPr lang="en-US"/>
            </a:p>
          </p:txBody>
        </p:sp>
        <p:sp>
          <p:nvSpPr>
            <p:cNvPr id="87" name="Freeform 30"/>
            <p:cNvSpPr>
              <a:spLocks/>
            </p:cNvSpPr>
            <p:nvPr/>
          </p:nvSpPr>
          <p:spPr bwMode="gray">
            <a:xfrm>
              <a:off x="2565" y="2178"/>
              <a:ext cx="55" cy="34"/>
            </a:xfrm>
            <a:custGeom>
              <a:avLst/>
              <a:gdLst/>
              <a:ahLst/>
              <a:cxnLst>
                <a:cxn ang="0">
                  <a:pos x="147" y="0"/>
                </a:cxn>
                <a:cxn ang="0">
                  <a:pos x="25" y="0"/>
                </a:cxn>
                <a:cxn ang="0">
                  <a:pos x="25" y="0"/>
                </a:cxn>
                <a:cxn ang="0">
                  <a:pos x="25" y="4"/>
                </a:cxn>
                <a:cxn ang="0">
                  <a:pos x="23" y="10"/>
                </a:cxn>
                <a:cxn ang="0">
                  <a:pos x="23" y="15"/>
                </a:cxn>
                <a:cxn ang="0">
                  <a:pos x="21" y="19"/>
                </a:cxn>
                <a:cxn ang="0">
                  <a:pos x="19" y="23"/>
                </a:cxn>
                <a:cxn ang="0">
                  <a:pos x="15" y="27"/>
                </a:cxn>
                <a:cxn ang="0">
                  <a:pos x="13" y="31"/>
                </a:cxn>
                <a:cxn ang="0">
                  <a:pos x="12" y="34"/>
                </a:cxn>
                <a:cxn ang="0">
                  <a:pos x="10" y="38"/>
                </a:cxn>
                <a:cxn ang="0">
                  <a:pos x="8" y="42"/>
                </a:cxn>
                <a:cxn ang="0">
                  <a:pos x="6" y="46"/>
                </a:cxn>
                <a:cxn ang="0">
                  <a:pos x="4" y="50"/>
                </a:cxn>
                <a:cxn ang="0">
                  <a:pos x="2" y="53"/>
                </a:cxn>
                <a:cxn ang="0">
                  <a:pos x="0" y="59"/>
                </a:cxn>
                <a:cxn ang="0">
                  <a:pos x="0" y="63"/>
                </a:cxn>
                <a:cxn ang="0">
                  <a:pos x="0" y="69"/>
                </a:cxn>
                <a:cxn ang="0">
                  <a:pos x="0" y="69"/>
                </a:cxn>
                <a:cxn ang="0">
                  <a:pos x="0" y="71"/>
                </a:cxn>
                <a:cxn ang="0">
                  <a:pos x="0" y="74"/>
                </a:cxn>
                <a:cxn ang="0">
                  <a:pos x="2" y="78"/>
                </a:cxn>
                <a:cxn ang="0">
                  <a:pos x="2" y="82"/>
                </a:cxn>
                <a:cxn ang="0">
                  <a:pos x="4" y="84"/>
                </a:cxn>
                <a:cxn ang="0">
                  <a:pos x="6" y="88"/>
                </a:cxn>
                <a:cxn ang="0">
                  <a:pos x="6" y="90"/>
                </a:cxn>
                <a:cxn ang="0">
                  <a:pos x="8" y="94"/>
                </a:cxn>
                <a:cxn ang="0">
                  <a:pos x="147" y="94"/>
                </a:cxn>
                <a:cxn ang="0">
                  <a:pos x="147" y="0"/>
                </a:cxn>
                <a:cxn ang="0">
                  <a:pos x="147" y="0"/>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solidFill>
              <a:srgbClr val="FFFF00"/>
            </a:solidFill>
            <a:ln w="9525" cmpd="sng">
              <a:solidFill>
                <a:schemeClr val="folHlink"/>
              </a:solidFill>
              <a:prstDash val="solid"/>
              <a:round/>
              <a:headEnd/>
              <a:tailEnd/>
            </a:ln>
          </p:spPr>
          <p:txBody>
            <a:bodyPr/>
            <a:lstStyle/>
            <a:p>
              <a:endParaRPr lang="en-US"/>
            </a:p>
          </p:txBody>
        </p:sp>
        <p:sp>
          <p:nvSpPr>
            <p:cNvPr id="88" name="Freeform 31"/>
            <p:cNvSpPr>
              <a:spLocks/>
            </p:cNvSpPr>
            <p:nvPr/>
          </p:nvSpPr>
          <p:spPr bwMode="gray">
            <a:xfrm>
              <a:off x="2536" y="1862"/>
              <a:ext cx="230" cy="326"/>
            </a:xfrm>
            <a:custGeom>
              <a:avLst/>
              <a:gdLst/>
              <a:ahLst/>
              <a:cxnLst>
                <a:cxn ang="0">
                  <a:pos x="101" y="857"/>
                </a:cxn>
                <a:cxn ang="0">
                  <a:pos x="107" y="826"/>
                </a:cxn>
                <a:cxn ang="0">
                  <a:pos x="112" y="797"/>
                </a:cxn>
                <a:cxn ang="0">
                  <a:pos x="93" y="755"/>
                </a:cxn>
                <a:cxn ang="0">
                  <a:pos x="49" y="723"/>
                </a:cxn>
                <a:cxn ang="0">
                  <a:pos x="21" y="698"/>
                </a:cxn>
                <a:cxn ang="0">
                  <a:pos x="2" y="660"/>
                </a:cxn>
                <a:cxn ang="0">
                  <a:pos x="13" y="628"/>
                </a:cxn>
                <a:cxn ang="0">
                  <a:pos x="21" y="593"/>
                </a:cxn>
                <a:cxn ang="0">
                  <a:pos x="49" y="549"/>
                </a:cxn>
                <a:cxn ang="0">
                  <a:pos x="110" y="504"/>
                </a:cxn>
                <a:cxn ang="0">
                  <a:pos x="150" y="494"/>
                </a:cxn>
                <a:cxn ang="0">
                  <a:pos x="164" y="477"/>
                </a:cxn>
                <a:cxn ang="0">
                  <a:pos x="208" y="527"/>
                </a:cxn>
                <a:cxn ang="0">
                  <a:pos x="238" y="509"/>
                </a:cxn>
                <a:cxn ang="0">
                  <a:pos x="272" y="450"/>
                </a:cxn>
                <a:cxn ang="0">
                  <a:pos x="286" y="410"/>
                </a:cxn>
                <a:cxn ang="0">
                  <a:pos x="305" y="374"/>
                </a:cxn>
                <a:cxn ang="0">
                  <a:pos x="335" y="347"/>
                </a:cxn>
                <a:cxn ang="0">
                  <a:pos x="343" y="321"/>
                </a:cxn>
                <a:cxn ang="0">
                  <a:pos x="362" y="294"/>
                </a:cxn>
                <a:cxn ang="0">
                  <a:pos x="379" y="273"/>
                </a:cxn>
                <a:cxn ang="0">
                  <a:pos x="377" y="244"/>
                </a:cxn>
                <a:cxn ang="0">
                  <a:pos x="398" y="206"/>
                </a:cxn>
                <a:cxn ang="0">
                  <a:pos x="429" y="166"/>
                </a:cxn>
                <a:cxn ang="0">
                  <a:pos x="477" y="132"/>
                </a:cxn>
                <a:cxn ang="0">
                  <a:pos x="486" y="88"/>
                </a:cxn>
                <a:cxn ang="0">
                  <a:pos x="486" y="65"/>
                </a:cxn>
                <a:cxn ang="0">
                  <a:pos x="452" y="55"/>
                </a:cxn>
                <a:cxn ang="0">
                  <a:pos x="477" y="31"/>
                </a:cxn>
                <a:cxn ang="0">
                  <a:pos x="505" y="128"/>
                </a:cxn>
                <a:cxn ang="0">
                  <a:pos x="522" y="179"/>
                </a:cxn>
                <a:cxn ang="0">
                  <a:pos x="538" y="227"/>
                </a:cxn>
                <a:cxn ang="0">
                  <a:pos x="498" y="235"/>
                </a:cxn>
                <a:cxn ang="0">
                  <a:pos x="446" y="246"/>
                </a:cxn>
                <a:cxn ang="0">
                  <a:pos x="438" y="286"/>
                </a:cxn>
                <a:cxn ang="0">
                  <a:pos x="461" y="319"/>
                </a:cxn>
                <a:cxn ang="0">
                  <a:pos x="492" y="342"/>
                </a:cxn>
                <a:cxn ang="0">
                  <a:pos x="522" y="378"/>
                </a:cxn>
                <a:cxn ang="0">
                  <a:pos x="549" y="427"/>
                </a:cxn>
                <a:cxn ang="0">
                  <a:pos x="551" y="456"/>
                </a:cxn>
                <a:cxn ang="0">
                  <a:pos x="536" y="466"/>
                </a:cxn>
                <a:cxn ang="0">
                  <a:pos x="505" y="513"/>
                </a:cxn>
                <a:cxn ang="0">
                  <a:pos x="475" y="561"/>
                </a:cxn>
                <a:cxn ang="0">
                  <a:pos x="480" y="576"/>
                </a:cxn>
                <a:cxn ang="0">
                  <a:pos x="484" y="591"/>
                </a:cxn>
                <a:cxn ang="0">
                  <a:pos x="484" y="622"/>
                </a:cxn>
                <a:cxn ang="0">
                  <a:pos x="509" y="700"/>
                </a:cxn>
                <a:cxn ang="0">
                  <a:pos x="549" y="765"/>
                </a:cxn>
                <a:cxn ang="0">
                  <a:pos x="576" y="792"/>
                </a:cxn>
                <a:cxn ang="0">
                  <a:pos x="604" y="818"/>
                </a:cxn>
                <a:cxn ang="0">
                  <a:pos x="610" y="845"/>
                </a:cxn>
                <a:cxn ang="0">
                  <a:pos x="602" y="859"/>
                </a:cxn>
                <a:cxn ang="0">
                  <a:pos x="591" y="895"/>
                </a:cxn>
                <a:cxn ang="0">
                  <a:pos x="557" y="883"/>
                </a:cxn>
                <a:cxn ang="0">
                  <a:pos x="511" y="874"/>
                </a:cxn>
                <a:cxn ang="0">
                  <a:pos x="463" y="859"/>
                </a:cxn>
                <a:cxn ang="0">
                  <a:pos x="406" y="857"/>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solidFill>
              <a:srgbClr val="FF0000"/>
            </a:solidFill>
            <a:ln w="9525" cmpd="sng">
              <a:solidFill>
                <a:schemeClr val="folHlink"/>
              </a:solidFill>
              <a:prstDash val="solid"/>
              <a:round/>
              <a:headEnd/>
              <a:tailEnd/>
            </a:ln>
          </p:spPr>
          <p:txBody>
            <a:bodyPr/>
            <a:lstStyle/>
            <a:p>
              <a:endParaRPr lang="en-US"/>
            </a:p>
          </p:txBody>
        </p:sp>
        <p:sp>
          <p:nvSpPr>
            <p:cNvPr id="89" name="Freeform 32"/>
            <p:cNvSpPr>
              <a:spLocks/>
            </p:cNvSpPr>
            <p:nvPr/>
          </p:nvSpPr>
          <p:spPr bwMode="gray">
            <a:xfrm>
              <a:off x="2365" y="1835"/>
              <a:ext cx="354" cy="278"/>
            </a:xfrm>
            <a:custGeom>
              <a:avLst/>
              <a:gdLst/>
              <a:ahLst/>
              <a:cxnLst>
                <a:cxn ang="0">
                  <a:pos x="442" y="730"/>
                </a:cxn>
                <a:cxn ang="0">
                  <a:pos x="421" y="738"/>
                </a:cxn>
                <a:cxn ang="0">
                  <a:pos x="379" y="751"/>
                </a:cxn>
                <a:cxn ang="0">
                  <a:pos x="339" y="755"/>
                </a:cxn>
                <a:cxn ang="0">
                  <a:pos x="311" y="757"/>
                </a:cxn>
                <a:cxn ang="0">
                  <a:pos x="280" y="761"/>
                </a:cxn>
                <a:cxn ang="0">
                  <a:pos x="236" y="751"/>
                </a:cxn>
                <a:cxn ang="0">
                  <a:pos x="208" y="703"/>
                </a:cxn>
                <a:cxn ang="0">
                  <a:pos x="183" y="658"/>
                </a:cxn>
                <a:cxn ang="0">
                  <a:pos x="141" y="608"/>
                </a:cxn>
                <a:cxn ang="0">
                  <a:pos x="97" y="599"/>
                </a:cxn>
                <a:cxn ang="0">
                  <a:pos x="4" y="595"/>
                </a:cxn>
                <a:cxn ang="0">
                  <a:pos x="4" y="427"/>
                </a:cxn>
                <a:cxn ang="0">
                  <a:pos x="23" y="394"/>
                </a:cxn>
                <a:cxn ang="0">
                  <a:pos x="30" y="352"/>
                </a:cxn>
                <a:cxn ang="0">
                  <a:pos x="61" y="312"/>
                </a:cxn>
                <a:cxn ang="0">
                  <a:pos x="93" y="267"/>
                </a:cxn>
                <a:cxn ang="0">
                  <a:pos x="88" y="215"/>
                </a:cxn>
                <a:cxn ang="0">
                  <a:pos x="78" y="145"/>
                </a:cxn>
                <a:cxn ang="0">
                  <a:pos x="99" y="89"/>
                </a:cxn>
                <a:cxn ang="0">
                  <a:pos x="124" y="43"/>
                </a:cxn>
                <a:cxn ang="0">
                  <a:pos x="147" y="13"/>
                </a:cxn>
                <a:cxn ang="0">
                  <a:pos x="202" y="1"/>
                </a:cxn>
                <a:cxn ang="0">
                  <a:pos x="242" y="1"/>
                </a:cxn>
                <a:cxn ang="0">
                  <a:pos x="288" y="15"/>
                </a:cxn>
                <a:cxn ang="0">
                  <a:pos x="313" y="30"/>
                </a:cxn>
                <a:cxn ang="0">
                  <a:pos x="341" y="68"/>
                </a:cxn>
                <a:cxn ang="0">
                  <a:pos x="372" y="62"/>
                </a:cxn>
                <a:cxn ang="0">
                  <a:pos x="400" y="49"/>
                </a:cxn>
                <a:cxn ang="0">
                  <a:pos x="435" y="47"/>
                </a:cxn>
                <a:cxn ang="0">
                  <a:pos x="477" y="70"/>
                </a:cxn>
                <a:cxn ang="0">
                  <a:pos x="528" y="87"/>
                </a:cxn>
                <a:cxn ang="0">
                  <a:pos x="578" y="72"/>
                </a:cxn>
                <a:cxn ang="0">
                  <a:pos x="627" y="45"/>
                </a:cxn>
                <a:cxn ang="0">
                  <a:pos x="683" y="45"/>
                </a:cxn>
                <a:cxn ang="0">
                  <a:pos x="723" y="64"/>
                </a:cxn>
                <a:cxn ang="0">
                  <a:pos x="759" y="76"/>
                </a:cxn>
                <a:cxn ang="0">
                  <a:pos x="799" y="55"/>
                </a:cxn>
                <a:cxn ang="0">
                  <a:pos x="851" y="24"/>
                </a:cxn>
                <a:cxn ang="0">
                  <a:pos x="879" y="38"/>
                </a:cxn>
                <a:cxn ang="0">
                  <a:pos x="906" y="125"/>
                </a:cxn>
                <a:cxn ang="0">
                  <a:pos x="938" y="135"/>
                </a:cxn>
                <a:cxn ang="0">
                  <a:pos x="944" y="156"/>
                </a:cxn>
                <a:cxn ang="0">
                  <a:pos x="938" y="198"/>
                </a:cxn>
                <a:cxn ang="0">
                  <a:pos x="895" y="234"/>
                </a:cxn>
                <a:cxn ang="0">
                  <a:pos x="858" y="272"/>
                </a:cxn>
                <a:cxn ang="0">
                  <a:pos x="835" y="312"/>
                </a:cxn>
                <a:cxn ang="0">
                  <a:pos x="835" y="341"/>
                </a:cxn>
                <a:cxn ang="0">
                  <a:pos x="826" y="362"/>
                </a:cxn>
                <a:cxn ang="0">
                  <a:pos x="803" y="387"/>
                </a:cxn>
                <a:cxn ang="0">
                  <a:pos x="793" y="419"/>
                </a:cxn>
                <a:cxn ang="0">
                  <a:pos x="767" y="442"/>
                </a:cxn>
                <a:cxn ang="0">
                  <a:pos x="746" y="476"/>
                </a:cxn>
                <a:cxn ang="0">
                  <a:pos x="734" y="515"/>
                </a:cxn>
                <a:cxn ang="0">
                  <a:pos x="702" y="574"/>
                </a:cxn>
                <a:cxn ang="0">
                  <a:pos x="673" y="600"/>
                </a:cxn>
                <a:cxn ang="0">
                  <a:pos x="629" y="557"/>
                </a:cxn>
                <a:cxn ang="0">
                  <a:pos x="612" y="562"/>
                </a:cxn>
                <a:cxn ang="0">
                  <a:pos x="578" y="574"/>
                </a:cxn>
                <a:cxn ang="0">
                  <a:pos x="515" y="614"/>
                </a:cxn>
                <a:cxn ang="0">
                  <a:pos x="481" y="660"/>
                </a:cxn>
                <a:cxn ang="0">
                  <a:pos x="471" y="694"/>
                </a:cxn>
                <a:cxn ang="0">
                  <a:pos x="462" y="728"/>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rgbClr val="FFC000"/>
            </a:solidFill>
            <a:ln w="9525" cmpd="sng">
              <a:solidFill>
                <a:schemeClr val="folHlink"/>
              </a:solidFill>
              <a:prstDash val="solid"/>
              <a:round/>
              <a:headEnd/>
              <a:tailEnd/>
            </a:ln>
          </p:spPr>
          <p:txBody>
            <a:bodyPr/>
            <a:lstStyle/>
            <a:p>
              <a:endParaRPr lang="en-US"/>
            </a:p>
          </p:txBody>
        </p:sp>
        <p:sp>
          <p:nvSpPr>
            <p:cNvPr id="90" name="Freeform 33"/>
            <p:cNvSpPr>
              <a:spLocks/>
            </p:cNvSpPr>
            <p:nvPr/>
          </p:nvSpPr>
          <p:spPr bwMode="gray">
            <a:xfrm>
              <a:off x="2312" y="1874"/>
              <a:ext cx="88" cy="180"/>
            </a:xfrm>
            <a:custGeom>
              <a:avLst/>
              <a:gdLst/>
              <a:ahLst/>
              <a:cxnLst>
                <a:cxn ang="0">
                  <a:pos x="147" y="485"/>
                </a:cxn>
                <a:cxn ang="0">
                  <a:pos x="143" y="489"/>
                </a:cxn>
                <a:cxn ang="0">
                  <a:pos x="141" y="344"/>
                </a:cxn>
                <a:cxn ang="0">
                  <a:pos x="145" y="321"/>
                </a:cxn>
                <a:cxn ang="0">
                  <a:pos x="154" y="306"/>
                </a:cxn>
                <a:cxn ang="0">
                  <a:pos x="162" y="294"/>
                </a:cxn>
                <a:cxn ang="0">
                  <a:pos x="166" y="275"/>
                </a:cxn>
                <a:cxn ang="0">
                  <a:pos x="168" y="254"/>
                </a:cxn>
                <a:cxn ang="0">
                  <a:pos x="173" y="241"/>
                </a:cxn>
                <a:cxn ang="0">
                  <a:pos x="187" y="224"/>
                </a:cxn>
                <a:cxn ang="0">
                  <a:pos x="202" y="206"/>
                </a:cxn>
                <a:cxn ang="0">
                  <a:pos x="219" y="189"/>
                </a:cxn>
                <a:cxn ang="0">
                  <a:pos x="231" y="168"/>
                </a:cxn>
                <a:cxn ang="0">
                  <a:pos x="236" y="143"/>
                </a:cxn>
                <a:cxn ang="0">
                  <a:pos x="232" y="122"/>
                </a:cxn>
                <a:cxn ang="0">
                  <a:pos x="225" y="101"/>
                </a:cxn>
                <a:cxn ang="0">
                  <a:pos x="221" y="79"/>
                </a:cxn>
                <a:cxn ang="0">
                  <a:pos x="221" y="71"/>
                </a:cxn>
                <a:cxn ang="0">
                  <a:pos x="221" y="61"/>
                </a:cxn>
                <a:cxn ang="0">
                  <a:pos x="221" y="50"/>
                </a:cxn>
                <a:cxn ang="0">
                  <a:pos x="217" y="52"/>
                </a:cxn>
                <a:cxn ang="0">
                  <a:pos x="194" y="25"/>
                </a:cxn>
                <a:cxn ang="0">
                  <a:pos x="168" y="2"/>
                </a:cxn>
                <a:cxn ang="0">
                  <a:pos x="158" y="2"/>
                </a:cxn>
                <a:cxn ang="0">
                  <a:pos x="137" y="14"/>
                </a:cxn>
                <a:cxn ang="0">
                  <a:pos x="122" y="25"/>
                </a:cxn>
                <a:cxn ang="0">
                  <a:pos x="120" y="37"/>
                </a:cxn>
                <a:cxn ang="0">
                  <a:pos x="110" y="61"/>
                </a:cxn>
                <a:cxn ang="0">
                  <a:pos x="87" y="77"/>
                </a:cxn>
                <a:cxn ang="0">
                  <a:pos x="68" y="79"/>
                </a:cxn>
                <a:cxn ang="0">
                  <a:pos x="47" y="80"/>
                </a:cxn>
                <a:cxn ang="0">
                  <a:pos x="28" y="90"/>
                </a:cxn>
                <a:cxn ang="0">
                  <a:pos x="13" y="103"/>
                </a:cxn>
                <a:cxn ang="0">
                  <a:pos x="4" y="122"/>
                </a:cxn>
                <a:cxn ang="0">
                  <a:pos x="0" y="145"/>
                </a:cxn>
                <a:cxn ang="0">
                  <a:pos x="2" y="166"/>
                </a:cxn>
                <a:cxn ang="0">
                  <a:pos x="15" y="191"/>
                </a:cxn>
                <a:cxn ang="0">
                  <a:pos x="32" y="214"/>
                </a:cxn>
                <a:cxn ang="0">
                  <a:pos x="49" y="237"/>
                </a:cxn>
                <a:cxn ang="0">
                  <a:pos x="61" y="262"/>
                </a:cxn>
                <a:cxn ang="0">
                  <a:pos x="65" y="283"/>
                </a:cxn>
                <a:cxn ang="0">
                  <a:pos x="63" y="315"/>
                </a:cxn>
                <a:cxn ang="0">
                  <a:pos x="57" y="348"/>
                </a:cxn>
                <a:cxn ang="0">
                  <a:pos x="51" y="378"/>
                </a:cxn>
                <a:cxn ang="0">
                  <a:pos x="46" y="411"/>
                </a:cxn>
                <a:cxn ang="0">
                  <a:pos x="44" y="447"/>
                </a:cxn>
                <a:cxn ang="0">
                  <a:pos x="44" y="464"/>
                </a:cxn>
                <a:cxn ang="0">
                  <a:pos x="51" y="481"/>
                </a:cxn>
                <a:cxn ang="0">
                  <a:pos x="61" y="493"/>
                </a:cxn>
                <a:cxn ang="0">
                  <a:pos x="68" y="494"/>
                </a:cxn>
                <a:cxn ang="0">
                  <a:pos x="84" y="493"/>
                </a:cxn>
                <a:cxn ang="0">
                  <a:pos x="97" y="491"/>
                </a:cxn>
                <a:cxn ang="0">
                  <a:pos x="112" y="489"/>
                </a:cxn>
                <a:cxn ang="0">
                  <a:pos x="128" y="485"/>
                </a:cxn>
                <a:cxn ang="0">
                  <a:pos x="143" y="483"/>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solidFill>
              <a:srgbClr val="FF0000"/>
            </a:solidFill>
            <a:ln w="9525" cmpd="sng">
              <a:solidFill>
                <a:schemeClr val="folHlink"/>
              </a:solidFill>
              <a:prstDash val="solid"/>
              <a:round/>
              <a:headEnd/>
              <a:tailEnd/>
            </a:ln>
          </p:spPr>
          <p:txBody>
            <a:bodyPr/>
            <a:lstStyle/>
            <a:p>
              <a:endParaRPr lang="en-US"/>
            </a:p>
          </p:txBody>
        </p:sp>
        <p:sp>
          <p:nvSpPr>
            <p:cNvPr id="91" name="Freeform 34"/>
            <p:cNvSpPr>
              <a:spLocks/>
            </p:cNvSpPr>
            <p:nvPr/>
          </p:nvSpPr>
          <p:spPr bwMode="gray">
            <a:xfrm>
              <a:off x="2287" y="1911"/>
              <a:ext cx="49" cy="148"/>
            </a:xfrm>
            <a:custGeom>
              <a:avLst/>
              <a:gdLst/>
              <a:ahLst/>
              <a:cxnLst>
                <a:cxn ang="0">
                  <a:pos x="67" y="27"/>
                </a:cxn>
                <a:cxn ang="0">
                  <a:pos x="65" y="35"/>
                </a:cxn>
                <a:cxn ang="0">
                  <a:pos x="65" y="42"/>
                </a:cxn>
                <a:cxn ang="0">
                  <a:pos x="65" y="56"/>
                </a:cxn>
                <a:cxn ang="0">
                  <a:pos x="74" y="83"/>
                </a:cxn>
                <a:cxn ang="0">
                  <a:pos x="91" y="105"/>
                </a:cxn>
                <a:cxn ang="0">
                  <a:pos x="109" y="128"/>
                </a:cxn>
                <a:cxn ang="0">
                  <a:pos x="124" y="151"/>
                </a:cxn>
                <a:cxn ang="0">
                  <a:pos x="130" y="182"/>
                </a:cxn>
                <a:cxn ang="0">
                  <a:pos x="128" y="203"/>
                </a:cxn>
                <a:cxn ang="0">
                  <a:pos x="124" y="235"/>
                </a:cxn>
                <a:cxn ang="0">
                  <a:pos x="118" y="268"/>
                </a:cxn>
                <a:cxn ang="0">
                  <a:pos x="112" y="298"/>
                </a:cxn>
                <a:cxn ang="0">
                  <a:pos x="109" y="332"/>
                </a:cxn>
                <a:cxn ang="0">
                  <a:pos x="109" y="357"/>
                </a:cxn>
                <a:cxn ang="0">
                  <a:pos x="112" y="374"/>
                </a:cxn>
                <a:cxn ang="0">
                  <a:pos x="122" y="390"/>
                </a:cxn>
                <a:cxn ang="0">
                  <a:pos x="130" y="393"/>
                </a:cxn>
                <a:cxn ang="0">
                  <a:pos x="109" y="401"/>
                </a:cxn>
                <a:cxn ang="0">
                  <a:pos x="91" y="407"/>
                </a:cxn>
                <a:cxn ang="0">
                  <a:pos x="78" y="407"/>
                </a:cxn>
                <a:cxn ang="0">
                  <a:pos x="55" y="393"/>
                </a:cxn>
                <a:cxn ang="0">
                  <a:pos x="36" y="363"/>
                </a:cxn>
                <a:cxn ang="0">
                  <a:pos x="32" y="342"/>
                </a:cxn>
                <a:cxn ang="0">
                  <a:pos x="34" y="329"/>
                </a:cxn>
                <a:cxn ang="0">
                  <a:pos x="40" y="317"/>
                </a:cxn>
                <a:cxn ang="0">
                  <a:pos x="40" y="311"/>
                </a:cxn>
                <a:cxn ang="0">
                  <a:pos x="40" y="302"/>
                </a:cxn>
                <a:cxn ang="0">
                  <a:pos x="40" y="298"/>
                </a:cxn>
                <a:cxn ang="0">
                  <a:pos x="40" y="292"/>
                </a:cxn>
                <a:cxn ang="0">
                  <a:pos x="42" y="285"/>
                </a:cxn>
                <a:cxn ang="0">
                  <a:pos x="44" y="271"/>
                </a:cxn>
                <a:cxn ang="0">
                  <a:pos x="46" y="258"/>
                </a:cxn>
                <a:cxn ang="0">
                  <a:pos x="48" y="243"/>
                </a:cxn>
                <a:cxn ang="0">
                  <a:pos x="49" y="229"/>
                </a:cxn>
                <a:cxn ang="0">
                  <a:pos x="48" y="218"/>
                </a:cxn>
                <a:cxn ang="0">
                  <a:pos x="40" y="205"/>
                </a:cxn>
                <a:cxn ang="0">
                  <a:pos x="30" y="195"/>
                </a:cxn>
                <a:cxn ang="0">
                  <a:pos x="28" y="184"/>
                </a:cxn>
                <a:cxn ang="0">
                  <a:pos x="34" y="168"/>
                </a:cxn>
                <a:cxn ang="0">
                  <a:pos x="40" y="157"/>
                </a:cxn>
                <a:cxn ang="0">
                  <a:pos x="40" y="147"/>
                </a:cxn>
                <a:cxn ang="0">
                  <a:pos x="32" y="134"/>
                </a:cxn>
                <a:cxn ang="0">
                  <a:pos x="25" y="119"/>
                </a:cxn>
                <a:cxn ang="0">
                  <a:pos x="23" y="105"/>
                </a:cxn>
                <a:cxn ang="0">
                  <a:pos x="23" y="92"/>
                </a:cxn>
                <a:cxn ang="0">
                  <a:pos x="23" y="84"/>
                </a:cxn>
                <a:cxn ang="0">
                  <a:pos x="23" y="75"/>
                </a:cxn>
                <a:cxn ang="0">
                  <a:pos x="11" y="58"/>
                </a:cxn>
                <a:cxn ang="0">
                  <a:pos x="0" y="37"/>
                </a:cxn>
                <a:cxn ang="0">
                  <a:pos x="0" y="21"/>
                </a:cxn>
                <a:cxn ang="0">
                  <a:pos x="2" y="8"/>
                </a:cxn>
                <a:cxn ang="0">
                  <a:pos x="9" y="0"/>
                </a:cxn>
                <a:cxn ang="0">
                  <a:pos x="21" y="0"/>
                </a:cxn>
                <a:cxn ang="0">
                  <a:pos x="40" y="8"/>
                </a:cxn>
                <a:cxn ang="0">
                  <a:pos x="61" y="18"/>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solidFill>
              <a:srgbClr val="FF0000"/>
            </a:solidFill>
            <a:ln w="9525" cmpd="sng">
              <a:solidFill>
                <a:schemeClr val="folHlink"/>
              </a:solidFill>
              <a:prstDash val="solid"/>
              <a:round/>
              <a:headEnd/>
              <a:tailEnd/>
            </a:ln>
          </p:spPr>
          <p:txBody>
            <a:bodyPr/>
            <a:lstStyle/>
            <a:p>
              <a:endParaRPr lang="en-US"/>
            </a:p>
          </p:txBody>
        </p:sp>
        <p:sp>
          <p:nvSpPr>
            <p:cNvPr id="92" name="Freeform 35"/>
            <p:cNvSpPr>
              <a:spLocks/>
            </p:cNvSpPr>
            <p:nvPr/>
          </p:nvSpPr>
          <p:spPr bwMode="gray">
            <a:xfrm>
              <a:off x="2190" y="1910"/>
              <a:ext cx="127" cy="186"/>
            </a:xfrm>
            <a:custGeom>
              <a:avLst/>
              <a:gdLst/>
              <a:ahLst/>
              <a:cxnLst>
                <a:cxn ang="0">
                  <a:pos x="246" y="7"/>
                </a:cxn>
                <a:cxn ang="0">
                  <a:pos x="227" y="19"/>
                </a:cxn>
                <a:cxn ang="0">
                  <a:pos x="202" y="15"/>
                </a:cxn>
                <a:cxn ang="0">
                  <a:pos x="68" y="0"/>
                </a:cxn>
                <a:cxn ang="0">
                  <a:pos x="47" y="9"/>
                </a:cxn>
                <a:cxn ang="0">
                  <a:pos x="38" y="34"/>
                </a:cxn>
                <a:cxn ang="0">
                  <a:pos x="38" y="57"/>
                </a:cxn>
                <a:cxn ang="0">
                  <a:pos x="38" y="74"/>
                </a:cxn>
                <a:cxn ang="0">
                  <a:pos x="38" y="97"/>
                </a:cxn>
                <a:cxn ang="0">
                  <a:pos x="42" y="120"/>
                </a:cxn>
                <a:cxn ang="0">
                  <a:pos x="49" y="150"/>
                </a:cxn>
                <a:cxn ang="0">
                  <a:pos x="57" y="177"/>
                </a:cxn>
                <a:cxn ang="0">
                  <a:pos x="59" y="202"/>
                </a:cxn>
                <a:cxn ang="0">
                  <a:pos x="51" y="230"/>
                </a:cxn>
                <a:cxn ang="0">
                  <a:pos x="36" y="253"/>
                </a:cxn>
                <a:cxn ang="0">
                  <a:pos x="26" y="278"/>
                </a:cxn>
                <a:cxn ang="0">
                  <a:pos x="28" y="303"/>
                </a:cxn>
                <a:cxn ang="0">
                  <a:pos x="24" y="330"/>
                </a:cxn>
                <a:cxn ang="0">
                  <a:pos x="5" y="349"/>
                </a:cxn>
                <a:cxn ang="0">
                  <a:pos x="1" y="377"/>
                </a:cxn>
                <a:cxn ang="0">
                  <a:pos x="7" y="406"/>
                </a:cxn>
                <a:cxn ang="0">
                  <a:pos x="22" y="425"/>
                </a:cxn>
                <a:cxn ang="0">
                  <a:pos x="36" y="444"/>
                </a:cxn>
                <a:cxn ang="0">
                  <a:pos x="36" y="461"/>
                </a:cxn>
                <a:cxn ang="0">
                  <a:pos x="38" y="482"/>
                </a:cxn>
                <a:cxn ang="0">
                  <a:pos x="74" y="501"/>
                </a:cxn>
                <a:cxn ang="0">
                  <a:pos x="101" y="509"/>
                </a:cxn>
                <a:cxn ang="0">
                  <a:pos x="125" y="501"/>
                </a:cxn>
                <a:cxn ang="0">
                  <a:pos x="145" y="486"/>
                </a:cxn>
                <a:cxn ang="0">
                  <a:pos x="167" y="473"/>
                </a:cxn>
                <a:cxn ang="0">
                  <a:pos x="196" y="471"/>
                </a:cxn>
                <a:cxn ang="0">
                  <a:pos x="219" y="467"/>
                </a:cxn>
                <a:cxn ang="0">
                  <a:pos x="246" y="444"/>
                </a:cxn>
                <a:cxn ang="0">
                  <a:pos x="272" y="431"/>
                </a:cxn>
                <a:cxn ang="0">
                  <a:pos x="299" y="429"/>
                </a:cxn>
                <a:cxn ang="0">
                  <a:pos x="322" y="427"/>
                </a:cxn>
                <a:cxn ang="0">
                  <a:pos x="339" y="408"/>
                </a:cxn>
                <a:cxn ang="0">
                  <a:pos x="309" y="385"/>
                </a:cxn>
                <a:cxn ang="0">
                  <a:pos x="293" y="343"/>
                </a:cxn>
                <a:cxn ang="0">
                  <a:pos x="299" y="322"/>
                </a:cxn>
                <a:cxn ang="0">
                  <a:pos x="301" y="309"/>
                </a:cxn>
                <a:cxn ang="0">
                  <a:pos x="301" y="299"/>
                </a:cxn>
                <a:cxn ang="0">
                  <a:pos x="303" y="288"/>
                </a:cxn>
                <a:cxn ang="0">
                  <a:pos x="305" y="269"/>
                </a:cxn>
                <a:cxn ang="0">
                  <a:pos x="309" y="244"/>
                </a:cxn>
                <a:cxn ang="0">
                  <a:pos x="310" y="225"/>
                </a:cxn>
                <a:cxn ang="0">
                  <a:pos x="297" y="204"/>
                </a:cxn>
                <a:cxn ang="0">
                  <a:pos x="289" y="185"/>
                </a:cxn>
                <a:cxn ang="0">
                  <a:pos x="299" y="162"/>
                </a:cxn>
                <a:cxn ang="0">
                  <a:pos x="299" y="143"/>
                </a:cxn>
                <a:cxn ang="0">
                  <a:pos x="286" y="120"/>
                </a:cxn>
                <a:cxn ang="0">
                  <a:pos x="284" y="97"/>
                </a:cxn>
                <a:cxn ang="0">
                  <a:pos x="284" y="82"/>
                </a:cxn>
                <a:cxn ang="0">
                  <a:pos x="272" y="59"/>
                </a:cxn>
                <a:cxn ang="0">
                  <a:pos x="261" y="28"/>
                </a:cxn>
                <a:cxn ang="0">
                  <a:pos x="261" y="17"/>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solidFill>
              <a:srgbClr val="FFFF00"/>
            </a:solidFill>
            <a:ln w="9525" cmpd="sng">
              <a:solidFill>
                <a:schemeClr val="folHlink"/>
              </a:solidFill>
              <a:prstDash val="solid"/>
              <a:round/>
              <a:headEnd/>
              <a:tailEnd/>
            </a:ln>
          </p:spPr>
          <p:txBody>
            <a:bodyPr/>
            <a:lstStyle/>
            <a:p>
              <a:endParaRPr lang="en-US"/>
            </a:p>
          </p:txBody>
        </p:sp>
        <p:sp>
          <p:nvSpPr>
            <p:cNvPr id="93" name="Freeform 36"/>
            <p:cNvSpPr>
              <a:spLocks/>
            </p:cNvSpPr>
            <p:nvPr/>
          </p:nvSpPr>
          <p:spPr bwMode="gray">
            <a:xfrm>
              <a:off x="2028" y="1919"/>
              <a:ext cx="183" cy="185"/>
            </a:xfrm>
            <a:custGeom>
              <a:avLst/>
              <a:gdLst/>
              <a:ahLst/>
              <a:cxnLst>
                <a:cxn ang="0">
                  <a:pos x="470" y="96"/>
                </a:cxn>
                <a:cxn ang="0">
                  <a:pos x="479" y="130"/>
                </a:cxn>
                <a:cxn ang="0">
                  <a:pos x="487" y="166"/>
                </a:cxn>
                <a:cxn ang="0">
                  <a:pos x="483" y="197"/>
                </a:cxn>
                <a:cxn ang="0">
                  <a:pos x="468" y="225"/>
                </a:cxn>
                <a:cxn ang="0">
                  <a:pos x="454" y="254"/>
                </a:cxn>
                <a:cxn ang="0">
                  <a:pos x="456" y="287"/>
                </a:cxn>
                <a:cxn ang="0">
                  <a:pos x="445" y="315"/>
                </a:cxn>
                <a:cxn ang="0">
                  <a:pos x="428" y="348"/>
                </a:cxn>
                <a:cxn ang="0">
                  <a:pos x="433" y="378"/>
                </a:cxn>
                <a:cxn ang="0">
                  <a:pos x="450" y="401"/>
                </a:cxn>
                <a:cxn ang="0">
                  <a:pos x="464" y="420"/>
                </a:cxn>
                <a:cxn ang="0">
                  <a:pos x="464" y="449"/>
                </a:cxn>
                <a:cxn ang="0">
                  <a:pos x="460" y="460"/>
                </a:cxn>
                <a:cxn ang="0">
                  <a:pos x="449" y="458"/>
                </a:cxn>
                <a:cxn ang="0">
                  <a:pos x="418" y="456"/>
                </a:cxn>
                <a:cxn ang="0">
                  <a:pos x="380" y="451"/>
                </a:cxn>
                <a:cxn ang="0">
                  <a:pos x="353" y="449"/>
                </a:cxn>
                <a:cxn ang="0">
                  <a:pos x="321" y="449"/>
                </a:cxn>
                <a:cxn ang="0">
                  <a:pos x="294" y="449"/>
                </a:cxn>
                <a:cxn ang="0">
                  <a:pos x="265" y="451"/>
                </a:cxn>
                <a:cxn ang="0">
                  <a:pos x="223" y="454"/>
                </a:cxn>
                <a:cxn ang="0">
                  <a:pos x="187" y="464"/>
                </a:cxn>
                <a:cxn ang="0">
                  <a:pos x="157" y="475"/>
                </a:cxn>
                <a:cxn ang="0">
                  <a:pos x="122" y="496"/>
                </a:cxn>
                <a:cxn ang="0">
                  <a:pos x="86" y="508"/>
                </a:cxn>
                <a:cxn ang="0">
                  <a:pos x="73" y="494"/>
                </a:cxn>
                <a:cxn ang="0">
                  <a:pos x="71" y="464"/>
                </a:cxn>
                <a:cxn ang="0">
                  <a:pos x="84" y="433"/>
                </a:cxn>
                <a:cxn ang="0">
                  <a:pos x="71" y="393"/>
                </a:cxn>
                <a:cxn ang="0">
                  <a:pos x="56" y="370"/>
                </a:cxn>
                <a:cxn ang="0">
                  <a:pos x="16" y="357"/>
                </a:cxn>
                <a:cxn ang="0">
                  <a:pos x="2" y="353"/>
                </a:cxn>
                <a:cxn ang="0">
                  <a:pos x="2" y="340"/>
                </a:cxn>
                <a:cxn ang="0">
                  <a:pos x="4" y="330"/>
                </a:cxn>
                <a:cxn ang="0">
                  <a:pos x="23" y="300"/>
                </a:cxn>
                <a:cxn ang="0">
                  <a:pos x="19" y="267"/>
                </a:cxn>
                <a:cxn ang="0">
                  <a:pos x="23" y="243"/>
                </a:cxn>
                <a:cxn ang="0">
                  <a:pos x="50" y="212"/>
                </a:cxn>
                <a:cxn ang="0">
                  <a:pos x="40" y="195"/>
                </a:cxn>
                <a:cxn ang="0">
                  <a:pos x="37" y="178"/>
                </a:cxn>
                <a:cxn ang="0">
                  <a:pos x="50" y="166"/>
                </a:cxn>
                <a:cxn ang="0">
                  <a:pos x="67" y="172"/>
                </a:cxn>
                <a:cxn ang="0">
                  <a:pos x="77" y="166"/>
                </a:cxn>
                <a:cxn ang="0">
                  <a:pos x="63" y="142"/>
                </a:cxn>
                <a:cxn ang="0">
                  <a:pos x="61" y="122"/>
                </a:cxn>
                <a:cxn ang="0">
                  <a:pos x="61" y="113"/>
                </a:cxn>
                <a:cxn ang="0">
                  <a:pos x="54" y="84"/>
                </a:cxn>
                <a:cxn ang="0">
                  <a:pos x="69" y="37"/>
                </a:cxn>
                <a:cxn ang="0">
                  <a:pos x="107" y="19"/>
                </a:cxn>
                <a:cxn ang="0">
                  <a:pos x="134" y="33"/>
                </a:cxn>
                <a:cxn ang="0">
                  <a:pos x="164" y="21"/>
                </a:cxn>
                <a:cxn ang="0">
                  <a:pos x="178" y="2"/>
                </a:cxn>
                <a:cxn ang="0">
                  <a:pos x="204" y="0"/>
                </a:cxn>
                <a:cxn ang="0">
                  <a:pos x="210" y="23"/>
                </a:cxn>
                <a:cxn ang="0">
                  <a:pos x="227" y="35"/>
                </a:cxn>
                <a:cxn ang="0">
                  <a:pos x="262" y="19"/>
                </a:cxn>
                <a:cxn ang="0">
                  <a:pos x="292" y="27"/>
                </a:cxn>
                <a:cxn ang="0">
                  <a:pos x="313" y="58"/>
                </a:cxn>
                <a:cxn ang="0">
                  <a:pos x="347" y="75"/>
                </a:cxn>
                <a:cxn ang="0">
                  <a:pos x="387" y="65"/>
                </a:cxn>
                <a:cxn ang="0">
                  <a:pos x="433" y="65"/>
                </a:cxn>
                <a:cxn ang="0">
                  <a:pos x="470" y="101"/>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solidFill>
              <a:srgbClr val="FFFF00"/>
            </a:solidFill>
            <a:ln w="9525" cmpd="sng">
              <a:solidFill>
                <a:schemeClr val="folHlink"/>
              </a:solidFill>
              <a:prstDash val="solid"/>
              <a:round/>
              <a:headEnd/>
              <a:tailEnd/>
            </a:ln>
          </p:spPr>
          <p:txBody>
            <a:bodyPr/>
            <a:lstStyle/>
            <a:p>
              <a:endParaRPr lang="en-US"/>
            </a:p>
          </p:txBody>
        </p:sp>
        <p:sp>
          <p:nvSpPr>
            <p:cNvPr id="94" name="Freeform 37"/>
            <p:cNvSpPr>
              <a:spLocks/>
            </p:cNvSpPr>
            <p:nvPr/>
          </p:nvSpPr>
          <p:spPr bwMode="gray">
            <a:xfrm>
              <a:off x="1951" y="1979"/>
              <a:ext cx="110" cy="125"/>
            </a:xfrm>
            <a:custGeom>
              <a:avLst/>
              <a:gdLst/>
              <a:ahLst/>
              <a:cxnLst>
                <a:cxn ang="0">
                  <a:pos x="224" y="71"/>
                </a:cxn>
                <a:cxn ang="0">
                  <a:pos x="218" y="73"/>
                </a:cxn>
                <a:cxn ang="0">
                  <a:pos x="210" y="79"/>
                </a:cxn>
                <a:cxn ang="0">
                  <a:pos x="199" y="100"/>
                </a:cxn>
                <a:cxn ang="0">
                  <a:pos x="182" y="105"/>
                </a:cxn>
                <a:cxn ang="0">
                  <a:pos x="164" y="98"/>
                </a:cxn>
                <a:cxn ang="0">
                  <a:pos x="155" y="84"/>
                </a:cxn>
                <a:cxn ang="0">
                  <a:pos x="157" y="81"/>
                </a:cxn>
                <a:cxn ang="0">
                  <a:pos x="164" y="71"/>
                </a:cxn>
                <a:cxn ang="0">
                  <a:pos x="164" y="54"/>
                </a:cxn>
                <a:cxn ang="0">
                  <a:pos x="159" y="31"/>
                </a:cxn>
                <a:cxn ang="0">
                  <a:pos x="147" y="12"/>
                </a:cxn>
                <a:cxn ang="0">
                  <a:pos x="126" y="0"/>
                </a:cxn>
                <a:cxn ang="0">
                  <a:pos x="96" y="0"/>
                </a:cxn>
                <a:cxn ang="0">
                  <a:pos x="71" y="29"/>
                </a:cxn>
                <a:cxn ang="0">
                  <a:pos x="59" y="61"/>
                </a:cxn>
                <a:cxn ang="0">
                  <a:pos x="33" y="94"/>
                </a:cxn>
                <a:cxn ang="0">
                  <a:pos x="0" y="126"/>
                </a:cxn>
                <a:cxn ang="0">
                  <a:pos x="18" y="149"/>
                </a:cxn>
                <a:cxn ang="0">
                  <a:pos x="42" y="168"/>
                </a:cxn>
                <a:cxn ang="0">
                  <a:pos x="69" y="182"/>
                </a:cxn>
                <a:cxn ang="0">
                  <a:pos x="98" y="197"/>
                </a:cxn>
                <a:cxn ang="0">
                  <a:pos x="115" y="212"/>
                </a:cxn>
                <a:cxn ang="0">
                  <a:pos x="130" y="231"/>
                </a:cxn>
                <a:cxn ang="0">
                  <a:pos x="145" y="254"/>
                </a:cxn>
                <a:cxn ang="0">
                  <a:pos x="161" y="273"/>
                </a:cxn>
                <a:cxn ang="0">
                  <a:pos x="180" y="289"/>
                </a:cxn>
                <a:cxn ang="0">
                  <a:pos x="206" y="304"/>
                </a:cxn>
                <a:cxn ang="0">
                  <a:pos x="233" y="319"/>
                </a:cxn>
                <a:cxn ang="0">
                  <a:pos x="264" y="332"/>
                </a:cxn>
                <a:cxn ang="0">
                  <a:pos x="288" y="344"/>
                </a:cxn>
                <a:cxn ang="0">
                  <a:pos x="281" y="330"/>
                </a:cxn>
                <a:cxn ang="0">
                  <a:pos x="279" y="308"/>
                </a:cxn>
                <a:cxn ang="0">
                  <a:pos x="283" y="289"/>
                </a:cxn>
                <a:cxn ang="0">
                  <a:pos x="292" y="269"/>
                </a:cxn>
                <a:cxn ang="0">
                  <a:pos x="288" y="235"/>
                </a:cxn>
                <a:cxn ang="0">
                  <a:pos x="275" y="220"/>
                </a:cxn>
                <a:cxn ang="0">
                  <a:pos x="264" y="206"/>
                </a:cxn>
                <a:cxn ang="0">
                  <a:pos x="237" y="193"/>
                </a:cxn>
                <a:cxn ang="0">
                  <a:pos x="208" y="189"/>
                </a:cxn>
                <a:cxn ang="0">
                  <a:pos x="210" y="189"/>
                </a:cxn>
                <a:cxn ang="0">
                  <a:pos x="210" y="182"/>
                </a:cxn>
                <a:cxn ang="0">
                  <a:pos x="212" y="174"/>
                </a:cxn>
                <a:cxn ang="0">
                  <a:pos x="212" y="166"/>
                </a:cxn>
                <a:cxn ang="0">
                  <a:pos x="225" y="145"/>
                </a:cxn>
                <a:cxn ang="0">
                  <a:pos x="231" y="130"/>
                </a:cxn>
                <a:cxn ang="0">
                  <a:pos x="227" y="103"/>
                </a:cxn>
                <a:cxn ang="0">
                  <a:pos x="224" y="79"/>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solidFill>
              <a:srgbClr val="FFFF00"/>
            </a:solidFill>
            <a:ln w="9525" cmpd="sng">
              <a:solidFill>
                <a:schemeClr val="folHlink"/>
              </a:solidFill>
              <a:prstDash val="solid"/>
              <a:round/>
              <a:headEnd/>
              <a:tailEnd/>
            </a:ln>
          </p:spPr>
          <p:txBody>
            <a:bodyPr/>
            <a:lstStyle/>
            <a:p>
              <a:endParaRPr lang="en-US"/>
            </a:p>
          </p:txBody>
        </p:sp>
        <p:sp>
          <p:nvSpPr>
            <p:cNvPr id="95" name="Freeform 38"/>
            <p:cNvSpPr>
              <a:spLocks/>
            </p:cNvSpPr>
            <p:nvPr/>
          </p:nvSpPr>
          <p:spPr bwMode="gray">
            <a:xfrm>
              <a:off x="1860" y="1847"/>
              <a:ext cx="199" cy="170"/>
            </a:xfrm>
            <a:custGeom>
              <a:avLst/>
              <a:gdLst/>
              <a:ahLst/>
              <a:cxnLst>
                <a:cxn ang="0">
                  <a:pos x="380" y="364"/>
                </a:cxn>
                <a:cxn ang="0">
                  <a:pos x="401" y="391"/>
                </a:cxn>
                <a:cxn ang="0">
                  <a:pos x="406" y="427"/>
                </a:cxn>
                <a:cxn ang="0">
                  <a:pos x="399" y="441"/>
                </a:cxn>
                <a:cxn ang="0">
                  <a:pos x="399" y="452"/>
                </a:cxn>
                <a:cxn ang="0">
                  <a:pos x="424" y="465"/>
                </a:cxn>
                <a:cxn ang="0">
                  <a:pos x="448" y="450"/>
                </a:cxn>
                <a:cxn ang="0">
                  <a:pos x="460" y="433"/>
                </a:cxn>
                <a:cxn ang="0">
                  <a:pos x="467" y="431"/>
                </a:cxn>
                <a:cxn ang="0">
                  <a:pos x="490" y="427"/>
                </a:cxn>
                <a:cxn ang="0">
                  <a:pos x="500" y="399"/>
                </a:cxn>
                <a:cxn ang="0">
                  <a:pos x="487" y="381"/>
                </a:cxn>
                <a:cxn ang="0">
                  <a:pos x="492" y="366"/>
                </a:cxn>
                <a:cxn ang="0">
                  <a:pos x="509" y="362"/>
                </a:cxn>
                <a:cxn ang="0">
                  <a:pos x="525" y="368"/>
                </a:cxn>
                <a:cxn ang="0">
                  <a:pos x="517" y="351"/>
                </a:cxn>
                <a:cxn ang="0">
                  <a:pos x="511" y="328"/>
                </a:cxn>
                <a:cxn ang="0">
                  <a:pos x="511" y="313"/>
                </a:cxn>
                <a:cxn ang="0">
                  <a:pos x="507" y="296"/>
                </a:cxn>
                <a:cxn ang="0">
                  <a:pos x="504" y="267"/>
                </a:cxn>
                <a:cxn ang="0">
                  <a:pos x="519" y="231"/>
                </a:cxn>
                <a:cxn ang="0">
                  <a:pos x="515" y="210"/>
                </a:cxn>
                <a:cxn ang="0">
                  <a:pos x="504" y="181"/>
                </a:cxn>
                <a:cxn ang="0">
                  <a:pos x="479" y="158"/>
                </a:cxn>
                <a:cxn ang="0">
                  <a:pos x="492" y="151"/>
                </a:cxn>
                <a:cxn ang="0">
                  <a:pos x="492" y="137"/>
                </a:cxn>
                <a:cxn ang="0">
                  <a:pos x="471" y="90"/>
                </a:cxn>
                <a:cxn ang="0">
                  <a:pos x="448" y="42"/>
                </a:cxn>
                <a:cxn ang="0">
                  <a:pos x="427" y="48"/>
                </a:cxn>
                <a:cxn ang="0">
                  <a:pos x="395" y="72"/>
                </a:cxn>
                <a:cxn ang="0">
                  <a:pos x="370" y="61"/>
                </a:cxn>
                <a:cxn ang="0">
                  <a:pos x="351" y="65"/>
                </a:cxn>
                <a:cxn ang="0">
                  <a:pos x="336" y="76"/>
                </a:cxn>
                <a:cxn ang="0">
                  <a:pos x="313" y="63"/>
                </a:cxn>
                <a:cxn ang="0">
                  <a:pos x="300" y="59"/>
                </a:cxn>
                <a:cxn ang="0">
                  <a:pos x="284" y="65"/>
                </a:cxn>
                <a:cxn ang="0">
                  <a:pos x="271" y="53"/>
                </a:cxn>
                <a:cxn ang="0">
                  <a:pos x="269" y="46"/>
                </a:cxn>
                <a:cxn ang="0">
                  <a:pos x="271" y="36"/>
                </a:cxn>
                <a:cxn ang="0">
                  <a:pos x="225" y="38"/>
                </a:cxn>
                <a:cxn ang="0">
                  <a:pos x="183" y="32"/>
                </a:cxn>
                <a:cxn ang="0">
                  <a:pos x="155" y="21"/>
                </a:cxn>
                <a:cxn ang="0">
                  <a:pos x="128" y="0"/>
                </a:cxn>
                <a:cxn ang="0">
                  <a:pos x="105" y="11"/>
                </a:cxn>
                <a:cxn ang="0">
                  <a:pos x="82" y="34"/>
                </a:cxn>
                <a:cxn ang="0">
                  <a:pos x="95" y="61"/>
                </a:cxn>
                <a:cxn ang="0">
                  <a:pos x="86" y="84"/>
                </a:cxn>
                <a:cxn ang="0">
                  <a:pos x="42" y="84"/>
                </a:cxn>
                <a:cxn ang="0">
                  <a:pos x="6" y="111"/>
                </a:cxn>
                <a:cxn ang="0">
                  <a:pos x="10" y="162"/>
                </a:cxn>
                <a:cxn ang="0">
                  <a:pos x="61" y="225"/>
                </a:cxn>
                <a:cxn ang="0">
                  <a:pos x="118" y="286"/>
                </a:cxn>
                <a:cxn ang="0">
                  <a:pos x="139" y="271"/>
                </a:cxn>
                <a:cxn ang="0">
                  <a:pos x="170" y="244"/>
                </a:cxn>
                <a:cxn ang="0">
                  <a:pos x="206" y="233"/>
                </a:cxn>
                <a:cxn ang="0">
                  <a:pos x="235" y="233"/>
                </a:cxn>
                <a:cxn ang="0">
                  <a:pos x="260" y="235"/>
                </a:cxn>
                <a:cxn ang="0">
                  <a:pos x="300" y="265"/>
                </a:cxn>
                <a:cxn ang="0">
                  <a:pos x="322" y="322"/>
                </a:cxn>
                <a:cxn ang="0">
                  <a:pos x="321" y="351"/>
                </a:cxn>
                <a:cxn ang="0">
                  <a:pos x="355" y="360"/>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solidFill>
              <a:srgbClr val="FF0000"/>
            </a:solidFill>
            <a:ln w="9525" cmpd="sng">
              <a:solidFill>
                <a:schemeClr val="folHlink"/>
              </a:solidFill>
              <a:prstDash val="solid"/>
              <a:round/>
              <a:headEnd/>
              <a:tailEnd/>
            </a:ln>
          </p:spPr>
          <p:txBody>
            <a:bodyPr/>
            <a:lstStyle/>
            <a:p>
              <a:endParaRPr lang="en-US"/>
            </a:p>
          </p:txBody>
        </p:sp>
        <p:sp>
          <p:nvSpPr>
            <p:cNvPr id="96" name="Freeform 39"/>
            <p:cNvSpPr>
              <a:spLocks/>
            </p:cNvSpPr>
            <p:nvPr/>
          </p:nvSpPr>
          <p:spPr bwMode="gray">
            <a:xfrm>
              <a:off x="1821" y="1846"/>
              <a:ext cx="83" cy="46"/>
            </a:xfrm>
            <a:custGeom>
              <a:avLst/>
              <a:gdLst/>
              <a:ahLst/>
              <a:cxnLst>
                <a:cxn ang="0">
                  <a:pos x="223" y="6"/>
                </a:cxn>
                <a:cxn ang="0">
                  <a:pos x="216" y="10"/>
                </a:cxn>
                <a:cxn ang="0">
                  <a:pos x="210" y="17"/>
                </a:cxn>
                <a:cxn ang="0">
                  <a:pos x="206" y="29"/>
                </a:cxn>
                <a:cxn ang="0">
                  <a:pos x="204" y="40"/>
                </a:cxn>
                <a:cxn ang="0">
                  <a:pos x="187" y="40"/>
                </a:cxn>
                <a:cxn ang="0">
                  <a:pos x="189" y="50"/>
                </a:cxn>
                <a:cxn ang="0">
                  <a:pos x="195" y="59"/>
                </a:cxn>
                <a:cxn ang="0">
                  <a:pos x="200" y="67"/>
                </a:cxn>
                <a:cxn ang="0">
                  <a:pos x="204" y="76"/>
                </a:cxn>
                <a:cxn ang="0">
                  <a:pos x="202" y="84"/>
                </a:cxn>
                <a:cxn ang="0">
                  <a:pos x="191" y="90"/>
                </a:cxn>
                <a:cxn ang="0">
                  <a:pos x="176" y="90"/>
                </a:cxn>
                <a:cxn ang="0">
                  <a:pos x="157" y="88"/>
                </a:cxn>
                <a:cxn ang="0">
                  <a:pos x="147" y="90"/>
                </a:cxn>
                <a:cxn ang="0">
                  <a:pos x="136" y="96"/>
                </a:cxn>
                <a:cxn ang="0">
                  <a:pos x="122" y="105"/>
                </a:cxn>
                <a:cxn ang="0">
                  <a:pos x="111" y="117"/>
                </a:cxn>
                <a:cxn ang="0">
                  <a:pos x="105" y="130"/>
                </a:cxn>
                <a:cxn ang="0">
                  <a:pos x="99" y="128"/>
                </a:cxn>
                <a:cxn ang="0">
                  <a:pos x="88" y="124"/>
                </a:cxn>
                <a:cxn ang="0">
                  <a:pos x="76" y="118"/>
                </a:cxn>
                <a:cxn ang="0">
                  <a:pos x="71" y="109"/>
                </a:cxn>
                <a:cxn ang="0">
                  <a:pos x="71" y="103"/>
                </a:cxn>
                <a:cxn ang="0">
                  <a:pos x="71" y="94"/>
                </a:cxn>
                <a:cxn ang="0">
                  <a:pos x="69" y="84"/>
                </a:cxn>
                <a:cxn ang="0">
                  <a:pos x="69" y="75"/>
                </a:cxn>
                <a:cxn ang="0">
                  <a:pos x="71" y="61"/>
                </a:cxn>
                <a:cxn ang="0">
                  <a:pos x="67" y="61"/>
                </a:cxn>
                <a:cxn ang="0">
                  <a:pos x="57" y="61"/>
                </a:cxn>
                <a:cxn ang="0">
                  <a:pos x="52" y="61"/>
                </a:cxn>
                <a:cxn ang="0">
                  <a:pos x="42" y="61"/>
                </a:cxn>
                <a:cxn ang="0">
                  <a:pos x="38" y="61"/>
                </a:cxn>
                <a:cxn ang="0">
                  <a:pos x="23" y="57"/>
                </a:cxn>
                <a:cxn ang="0">
                  <a:pos x="12" y="46"/>
                </a:cxn>
                <a:cxn ang="0">
                  <a:pos x="4" y="33"/>
                </a:cxn>
                <a:cxn ang="0">
                  <a:pos x="0" y="23"/>
                </a:cxn>
                <a:cxn ang="0">
                  <a:pos x="8" y="19"/>
                </a:cxn>
                <a:cxn ang="0">
                  <a:pos x="21" y="15"/>
                </a:cxn>
                <a:cxn ang="0">
                  <a:pos x="36" y="12"/>
                </a:cxn>
                <a:cxn ang="0">
                  <a:pos x="50" y="8"/>
                </a:cxn>
                <a:cxn ang="0">
                  <a:pos x="63" y="6"/>
                </a:cxn>
                <a:cxn ang="0">
                  <a:pos x="78" y="2"/>
                </a:cxn>
                <a:cxn ang="0">
                  <a:pos x="92" y="0"/>
                </a:cxn>
                <a:cxn ang="0">
                  <a:pos x="107" y="0"/>
                </a:cxn>
                <a:cxn ang="0">
                  <a:pos x="218" y="8"/>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solidFill>
              <a:srgbClr val="FF0000"/>
            </a:solidFill>
            <a:ln w="9525" cmpd="sng">
              <a:solidFill>
                <a:schemeClr val="folHlink"/>
              </a:solidFill>
              <a:prstDash val="solid"/>
              <a:round/>
              <a:headEnd/>
              <a:tailEnd/>
            </a:ln>
          </p:spPr>
          <p:txBody>
            <a:bodyPr/>
            <a:lstStyle/>
            <a:p>
              <a:endParaRPr lang="en-US"/>
            </a:p>
          </p:txBody>
        </p:sp>
        <p:sp>
          <p:nvSpPr>
            <p:cNvPr id="97" name="Freeform 40"/>
            <p:cNvSpPr>
              <a:spLocks/>
            </p:cNvSpPr>
            <p:nvPr/>
          </p:nvSpPr>
          <p:spPr bwMode="gray">
            <a:xfrm>
              <a:off x="1805" y="1725"/>
              <a:ext cx="159" cy="137"/>
            </a:xfrm>
            <a:custGeom>
              <a:avLst/>
              <a:gdLst/>
              <a:ahLst/>
              <a:cxnLst>
                <a:cxn ang="0">
                  <a:pos x="386" y="374"/>
                </a:cxn>
                <a:cxn ang="0">
                  <a:pos x="342" y="370"/>
                </a:cxn>
                <a:cxn ang="0">
                  <a:pos x="305" y="359"/>
                </a:cxn>
                <a:cxn ang="0">
                  <a:pos x="286" y="342"/>
                </a:cxn>
                <a:cxn ang="0">
                  <a:pos x="149" y="330"/>
                </a:cxn>
                <a:cxn ang="0">
                  <a:pos x="105" y="336"/>
                </a:cxn>
                <a:cxn ang="0">
                  <a:pos x="63" y="345"/>
                </a:cxn>
                <a:cxn ang="0">
                  <a:pos x="36" y="347"/>
                </a:cxn>
                <a:cxn ang="0">
                  <a:pos x="27" y="330"/>
                </a:cxn>
                <a:cxn ang="0">
                  <a:pos x="29" y="300"/>
                </a:cxn>
                <a:cxn ang="0">
                  <a:pos x="56" y="284"/>
                </a:cxn>
                <a:cxn ang="0">
                  <a:pos x="75" y="290"/>
                </a:cxn>
                <a:cxn ang="0">
                  <a:pos x="96" y="286"/>
                </a:cxn>
                <a:cxn ang="0">
                  <a:pos x="122" y="273"/>
                </a:cxn>
                <a:cxn ang="0">
                  <a:pos x="151" y="265"/>
                </a:cxn>
                <a:cxn ang="0">
                  <a:pos x="187" y="282"/>
                </a:cxn>
                <a:cxn ang="0">
                  <a:pos x="225" y="290"/>
                </a:cxn>
                <a:cxn ang="0">
                  <a:pos x="248" y="290"/>
                </a:cxn>
                <a:cxn ang="0">
                  <a:pos x="239" y="265"/>
                </a:cxn>
                <a:cxn ang="0">
                  <a:pos x="227" y="261"/>
                </a:cxn>
                <a:cxn ang="0">
                  <a:pos x="210" y="261"/>
                </a:cxn>
                <a:cxn ang="0">
                  <a:pos x="185" y="248"/>
                </a:cxn>
                <a:cxn ang="0">
                  <a:pos x="145" y="235"/>
                </a:cxn>
                <a:cxn ang="0">
                  <a:pos x="113" y="242"/>
                </a:cxn>
                <a:cxn ang="0">
                  <a:pos x="80" y="254"/>
                </a:cxn>
                <a:cxn ang="0">
                  <a:pos x="56" y="256"/>
                </a:cxn>
                <a:cxn ang="0">
                  <a:pos x="36" y="256"/>
                </a:cxn>
                <a:cxn ang="0">
                  <a:pos x="40" y="242"/>
                </a:cxn>
                <a:cxn ang="0">
                  <a:pos x="27" y="200"/>
                </a:cxn>
                <a:cxn ang="0">
                  <a:pos x="6" y="160"/>
                </a:cxn>
                <a:cxn ang="0">
                  <a:pos x="2" y="141"/>
                </a:cxn>
                <a:cxn ang="0">
                  <a:pos x="31" y="116"/>
                </a:cxn>
                <a:cxn ang="0">
                  <a:pos x="52" y="92"/>
                </a:cxn>
                <a:cxn ang="0">
                  <a:pos x="69" y="61"/>
                </a:cxn>
                <a:cxn ang="0">
                  <a:pos x="96" y="12"/>
                </a:cxn>
                <a:cxn ang="0">
                  <a:pos x="118" y="10"/>
                </a:cxn>
                <a:cxn ang="0">
                  <a:pos x="136" y="10"/>
                </a:cxn>
                <a:cxn ang="0">
                  <a:pos x="181" y="2"/>
                </a:cxn>
                <a:cxn ang="0">
                  <a:pos x="216" y="6"/>
                </a:cxn>
                <a:cxn ang="0">
                  <a:pos x="239" y="23"/>
                </a:cxn>
                <a:cxn ang="0">
                  <a:pos x="258" y="46"/>
                </a:cxn>
                <a:cxn ang="0">
                  <a:pos x="283" y="57"/>
                </a:cxn>
                <a:cxn ang="0">
                  <a:pos x="305" y="71"/>
                </a:cxn>
                <a:cxn ang="0">
                  <a:pos x="307" y="95"/>
                </a:cxn>
                <a:cxn ang="0">
                  <a:pos x="330" y="128"/>
                </a:cxn>
                <a:cxn ang="0">
                  <a:pos x="355" y="166"/>
                </a:cxn>
                <a:cxn ang="0">
                  <a:pos x="372" y="208"/>
                </a:cxn>
                <a:cxn ang="0">
                  <a:pos x="386" y="227"/>
                </a:cxn>
                <a:cxn ang="0">
                  <a:pos x="386" y="248"/>
                </a:cxn>
                <a:cxn ang="0">
                  <a:pos x="378" y="267"/>
                </a:cxn>
                <a:cxn ang="0">
                  <a:pos x="393" y="292"/>
                </a:cxn>
                <a:cxn ang="0">
                  <a:pos x="418" y="315"/>
                </a:cxn>
                <a:cxn ang="0">
                  <a:pos x="426" y="344"/>
                </a:cxn>
                <a:cxn ang="0">
                  <a:pos x="416" y="368"/>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solidFill>
              <a:srgbClr val="FF0000"/>
            </a:solidFill>
            <a:ln w="9525" cmpd="sng">
              <a:solidFill>
                <a:schemeClr val="folHlink"/>
              </a:solidFill>
              <a:prstDash val="solid"/>
              <a:round/>
              <a:headEnd/>
              <a:tailEnd/>
            </a:ln>
          </p:spPr>
          <p:txBody>
            <a:bodyPr/>
            <a:lstStyle/>
            <a:p>
              <a:endParaRPr lang="en-US"/>
            </a:p>
          </p:txBody>
        </p:sp>
        <p:sp>
          <p:nvSpPr>
            <p:cNvPr id="98" name="Freeform 41"/>
            <p:cNvSpPr>
              <a:spLocks/>
            </p:cNvSpPr>
            <p:nvPr/>
          </p:nvSpPr>
          <p:spPr bwMode="gray">
            <a:xfrm>
              <a:off x="1815" y="1811"/>
              <a:ext cx="83" cy="20"/>
            </a:xfrm>
            <a:custGeom>
              <a:avLst/>
              <a:gdLst/>
              <a:ahLst/>
              <a:cxnLst>
                <a:cxn ang="0">
                  <a:pos x="9" y="17"/>
                </a:cxn>
                <a:cxn ang="0">
                  <a:pos x="6" y="25"/>
                </a:cxn>
                <a:cxn ang="0">
                  <a:pos x="4" y="32"/>
                </a:cxn>
                <a:cxn ang="0">
                  <a:pos x="2" y="40"/>
                </a:cxn>
                <a:cxn ang="0">
                  <a:pos x="0" y="47"/>
                </a:cxn>
                <a:cxn ang="0">
                  <a:pos x="27" y="47"/>
                </a:cxn>
                <a:cxn ang="0">
                  <a:pos x="29" y="49"/>
                </a:cxn>
                <a:cxn ang="0">
                  <a:pos x="34" y="53"/>
                </a:cxn>
                <a:cxn ang="0">
                  <a:pos x="40" y="55"/>
                </a:cxn>
                <a:cxn ang="0">
                  <a:pos x="48" y="55"/>
                </a:cxn>
                <a:cxn ang="0">
                  <a:pos x="50" y="55"/>
                </a:cxn>
                <a:cxn ang="0">
                  <a:pos x="59" y="55"/>
                </a:cxn>
                <a:cxn ang="0">
                  <a:pos x="69" y="51"/>
                </a:cxn>
                <a:cxn ang="0">
                  <a:pos x="78" y="47"/>
                </a:cxn>
                <a:cxn ang="0">
                  <a:pos x="88" y="42"/>
                </a:cxn>
                <a:cxn ang="0">
                  <a:pos x="95" y="38"/>
                </a:cxn>
                <a:cxn ang="0">
                  <a:pos x="105" y="34"/>
                </a:cxn>
                <a:cxn ang="0">
                  <a:pos x="114" y="30"/>
                </a:cxn>
                <a:cxn ang="0">
                  <a:pos x="124" y="30"/>
                </a:cxn>
                <a:cxn ang="0">
                  <a:pos x="132" y="30"/>
                </a:cxn>
                <a:cxn ang="0">
                  <a:pos x="147" y="38"/>
                </a:cxn>
                <a:cxn ang="0">
                  <a:pos x="160" y="47"/>
                </a:cxn>
                <a:cxn ang="0">
                  <a:pos x="177" y="55"/>
                </a:cxn>
                <a:cxn ang="0">
                  <a:pos x="187" y="55"/>
                </a:cxn>
                <a:cxn ang="0">
                  <a:pos x="198" y="55"/>
                </a:cxn>
                <a:cxn ang="0">
                  <a:pos x="208" y="55"/>
                </a:cxn>
                <a:cxn ang="0">
                  <a:pos x="214" y="55"/>
                </a:cxn>
                <a:cxn ang="0">
                  <a:pos x="221" y="55"/>
                </a:cxn>
                <a:cxn ang="0">
                  <a:pos x="221" y="36"/>
                </a:cxn>
                <a:cxn ang="0">
                  <a:pos x="217" y="32"/>
                </a:cxn>
                <a:cxn ang="0">
                  <a:pos x="212" y="30"/>
                </a:cxn>
                <a:cxn ang="0">
                  <a:pos x="208" y="26"/>
                </a:cxn>
                <a:cxn ang="0">
                  <a:pos x="204" y="26"/>
                </a:cxn>
                <a:cxn ang="0">
                  <a:pos x="200" y="26"/>
                </a:cxn>
                <a:cxn ang="0">
                  <a:pos x="194" y="26"/>
                </a:cxn>
                <a:cxn ang="0">
                  <a:pos x="189" y="26"/>
                </a:cxn>
                <a:cxn ang="0">
                  <a:pos x="183" y="26"/>
                </a:cxn>
                <a:cxn ang="0">
                  <a:pos x="179" y="26"/>
                </a:cxn>
                <a:cxn ang="0">
                  <a:pos x="170" y="23"/>
                </a:cxn>
                <a:cxn ang="0">
                  <a:pos x="158" y="13"/>
                </a:cxn>
                <a:cxn ang="0">
                  <a:pos x="143" y="4"/>
                </a:cxn>
                <a:cxn ang="0">
                  <a:pos x="124" y="0"/>
                </a:cxn>
                <a:cxn ang="0">
                  <a:pos x="118" y="0"/>
                </a:cxn>
                <a:cxn ang="0">
                  <a:pos x="107" y="2"/>
                </a:cxn>
                <a:cxn ang="0">
                  <a:pos x="97" y="5"/>
                </a:cxn>
                <a:cxn ang="0">
                  <a:pos x="86" y="7"/>
                </a:cxn>
                <a:cxn ang="0">
                  <a:pos x="76" y="11"/>
                </a:cxn>
                <a:cxn ang="0">
                  <a:pos x="65" y="15"/>
                </a:cxn>
                <a:cxn ang="0">
                  <a:pos x="53" y="19"/>
                </a:cxn>
                <a:cxn ang="0">
                  <a:pos x="42" y="19"/>
                </a:cxn>
                <a:cxn ang="0">
                  <a:pos x="36" y="21"/>
                </a:cxn>
                <a:cxn ang="0">
                  <a:pos x="29" y="21"/>
                </a:cxn>
                <a:cxn ang="0">
                  <a:pos x="21" y="19"/>
                </a:cxn>
                <a:cxn ang="0">
                  <a:pos x="15" y="19"/>
                </a:cxn>
                <a:cxn ang="0">
                  <a:pos x="9" y="21"/>
                </a:cxn>
              </a:cxnLst>
              <a:rect l="0" t="0" r="r" b="b"/>
              <a:pathLst>
                <a:path w="221" h="55">
                  <a:moveTo>
                    <a:pt x="9" y="17"/>
                  </a:moveTo>
                  <a:lnTo>
                    <a:pt x="9" y="17"/>
                  </a:lnTo>
                  <a:lnTo>
                    <a:pt x="8" y="21"/>
                  </a:lnTo>
                  <a:lnTo>
                    <a:pt x="6" y="25"/>
                  </a:lnTo>
                  <a:lnTo>
                    <a:pt x="4" y="28"/>
                  </a:lnTo>
                  <a:lnTo>
                    <a:pt x="4" y="32"/>
                  </a:lnTo>
                  <a:lnTo>
                    <a:pt x="2" y="36"/>
                  </a:lnTo>
                  <a:lnTo>
                    <a:pt x="2" y="40"/>
                  </a:lnTo>
                  <a:lnTo>
                    <a:pt x="0" y="44"/>
                  </a:lnTo>
                  <a:lnTo>
                    <a:pt x="0" y="47"/>
                  </a:lnTo>
                  <a:lnTo>
                    <a:pt x="0" y="47"/>
                  </a:lnTo>
                  <a:lnTo>
                    <a:pt x="27" y="47"/>
                  </a:lnTo>
                  <a:lnTo>
                    <a:pt x="27" y="47"/>
                  </a:lnTo>
                  <a:lnTo>
                    <a:pt x="29" y="49"/>
                  </a:lnTo>
                  <a:lnTo>
                    <a:pt x="32" y="51"/>
                  </a:lnTo>
                  <a:lnTo>
                    <a:pt x="34" y="53"/>
                  </a:lnTo>
                  <a:lnTo>
                    <a:pt x="38" y="53"/>
                  </a:lnTo>
                  <a:lnTo>
                    <a:pt x="40" y="55"/>
                  </a:lnTo>
                  <a:lnTo>
                    <a:pt x="44" y="55"/>
                  </a:lnTo>
                  <a:lnTo>
                    <a:pt x="48" y="55"/>
                  </a:lnTo>
                  <a:lnTo>
                    <a:pt x="50" y="55"/>
                  </a:lnTo>
                  <a:lnTo>
                    <a:pt x="50" y="55"/>
                  </a:lnTo>
                  <a:lnTo>
                    <a:pt x="55" y="55"/>
                  </a:lnTo>
                  <a:lnTo>
                    <a:pt x="59" y="55"/>
                  </a:lnTo>
                  <a:lnTo>
                    <a:pt x="65" y="53"/>
                  </a:lnTo>
                  <a:lnTo>
                    <a:pt x="69" y="51"/>
                  </a:lnTo>
                  <a:lnTo>
                    <a:pt x="74" y="49"/>
                  </a:lnTo>
                  <a:lnTo>
                    <a:pt x="78" y="47"/>
                  </a:lnTo>
                  <a:lnTo>
                    <a:pt x="82" y="46"/>
                  </a:lnTo>
                  <a:lnTo>
                    <a:pt x="88" y="42"/>
                  </a:lnTo>
                  <a:lnTo>
                    <a:pt x="91" y="40"/>
                  </a:lnTo>
                  <a:lnTo>
                    <a:pt x="95" y="38"/>
                  </a:lnTo>
                  <a:lnTo>
                    <a:pt x="101" y="36"/>
                  </a:lnTo>
                  <a:lnTo>
                    <a:pt x="105" y="34"/>
                  </a:lnTo>
                  <a:lnTo>
                    <a:pt x="109" y="32"/>
                  </a:lnTo>
                  <a:lnTo>
                    <a:pt x="114" y="30"/>
                  </a:lnTo>
                  <a:lnTo>
                    <a:pt x="118" y="30"/>
                  </a:lnTo>
                  <a:lnTo>
                    <a:pt x="124" y="30"/>
                  </a:lnTo>
                  <a:lnTo>
                    <a:pt x="124" y="30"/>
                  </a:lnTo>
                  <a:lnTo>
                    <a:pt x="132" y="30"/>
                  </a:lnTo>
                  <a:lnTo>
                    <a:pt x="139" y="34"/>
                  </a:lnTo>
                  <a:lnTo>
                    <a:pt x="147" y="38"/>
                  </a:lnTo>
                  <a:lnTo>
                    <a:pt x="153" y="42"/>
                  </a:lnTo>
                  <a:lnTo>
                    <a:pt x="160" y="47"/>
                  </a:lnTo>
                  <a:lnTo>
                    <a:pt x="170" y="51"/>
                  </a:lnTo>
                  <a:lnTo>
                    <a:pt x="177" y="55"/>
                  </a:lnTo>
                  <a:lnTo>
                    <a:pt x="187" y="55"/>
                  </a:lnTo>
                  <a:lnTo>
                    <a:pt x="187" y="55"/>
                  </a:lnTo>
                  <a:lnTo>
                    <a:pt x="193" y="55"/>
                  </a:lnTo>
                  <a:lnTo>
                    <a:pt x="198" y="55"/>
                  </a:lnTo>
                  <a:lnTo>
                    <a:pt x="202" y="55"/>
                  </a:lnTo>
                  <a:lnTo>
                    <a:pt x="208" y="55"/>
                  </a:lnTo>
                  <a:lnTo>
                    <a:pt x="212" y="53"/>
                  </a:lnTo>
                  <a:lnTo>
                    <a:pt x="214" y="55"/>
                  </a:lnTo>
                  <a:lnTo>
                    <a:pt x="217" y="55"/>
                  </a:lnTo>
                  <a:lnTo>
                    <a:pt x="221" y="55"/>
                  </a:lnTo>
                  <a:lnTo>
                    <a:pt x="221" y="36"/>
                  </a:lnTo>
                  <a:lnTo>
                    <a:pt x="221" y="36"/>
                  </a:lnTo>
                  <a:lnTo>
                    <a:pt x="219" y="34"/>
                  </a:lnTo>
                  <a:lnTo>
                    <a:pt x="217" y="32"/>
                  </a:lnTo>
                  <a:lnTo>
                    <a:pt x="215" y="30"/>
                  </a:lnTo>
                  <a:lnTo>
                    <a:pt x="212" y="30"/>
                  </a:lnTo>
                  <a:lnTo>
                    <a:pt x="210" y="28"/>
                  </a:lnTo>
                  <a:lnTo>
                    <a:pt x="208" y="26"/>
                  </a:lnTo>
                  <a:lnTo>
                    <a:pt x="206" y="26"/>
                  </a:lnTo>
                  <a:lnTo>
                    <a:pt x="204" y="26"/>
                  </a:lnTo>
                  <a:lnTo>
                    <a:pt x="204" y="26"/>
                  </a:lnTo>
                  <a:lnTo>
                    <a:pt x="200" y="26"/>
                  </a:lnTo>
                  <a:lnTo>
                    <a:pt x="196" y="26"/>
                  </a:lnTo>
                  <a:lnTo>
                    <a:pt x="194" y="26"/>
                  </a:lnTo>
                  <a:lnTo>
                    <a:pt x="193" y="26"/>
                  </a:lnTo>
                  <a:lnTo>
                    <a:pt x="189" y="26"/>
                  </a:lnTo>
                  <a:lnTo>
                    <a:pt x="187" y="26"/>
                  </a:lnTo>
                  <a:lnTo>
                    <a:pt x="183" y="26"/>
                  </a:lnTo>
                  <a:lnTo>
                    <a:pt x="179" y="26"/>
                  </a:lnTo>
                  <a:lnTo>
                    <a:pt x="179" y="26"/>
                  </a:lnTo>
                  <a:lnTo>
                    <a:pt x="175" y="25"/>
                  </a:lnTo>
                  <a:lnTo>
                    <a:pt x="170" y="23"/>
                  </a:lnTo>
                  <a:lnTo>
                    <a:pt x="164" y="17"/>
                  </a:lnTo>
                  <a:lnTo>
                    <a:pt x="158" y="13"/>
                  </a:lnTo>
                  <a:lnTo>
                    <a:pt x="151" y="7"/>
                  </a:lnTo>
                  <a:lnTo>
                    <a:pt x="143" y="4"/>
                  </a:lnTo>
                  <a:lnTo>
                    <a:pt x="133" y="2"/>
                  </a:lnTo>
                  <a:lnTo>
                    <a:pt x="124" y="0"/>
                  </a:lnTo>
                  <a:lnTo>
                    <a:pt x="124" y="0"/>
                  </a:lnTo>
                  <a:lnTo>
                    <a:pt x="118" y="0"/>
                  </a:lnTo>
                  <a:lnTo>
                    <a:pt x="112" y="2"/>
                  </a:lnTo>
                  <a:lnTo>
                    <a:pt x="107" y="2"/>
                  </a:lnTo>
                  <a:lnTo>
                    <a:pt x="103" y="4"/>
                  </a:lnTo>
                  <a:lnTo>
                    <a:pt x="97" y="5"/>
                  </a:lnTo>
                  <a:lnTo>
                    <a:pt x="91" y="5"/>
                  </a:lnTo>
                  <a:lnTo>
                    <a:pt x="86" y="7"/>
                  </a:lnTo>
                  <a:lnTo>
                    <a:pt x="80" y="9"/>
                  </a:lnTo>
                  <a:lnTo>
                    <a:pt x="76" y="11"/>
                  </a:lnTo>
                  <a:lnTo>
                    <a:pt x="70" y="13"/>
                  </a:lnTo>
                  <a:lnTo>
                    <a:pt x="65" y="15"/>
                  </a:lnTo>
                  <a:lnTo>
                    <a:pt x="59" y="17"/>
                  </a:lnTo>
                  <a:lnTo>
                    <a:pt x="53" y="19"/>
                  </a:lnTo>
                  <a:lnTo>
                    <a:pt x="48" y="19"/>
                  </a:lnTo>
                  <a:lnTo>
                    <a:pt x="42" y="19"/>
                  </a:lnTo>
                  <a:lnTo>
                    <a:pt x="36" y="21"/>
                  </a:lnTo>
                  <a:lnTo>
                    <a:pt x="36" y="21"/>
                  </a:lnTo>
                  <a:lnTo>
                    <a:pt x="32" y="21"/>
                  </a:lnTo>
                  <a:lnTo>
                    <a:pt x="29" y="21"/>
                  </a:lnTo>
                  <a:lnTo>
                    <a:pt x="25" y="19"/>
                  </a:lnTo>
                  <a:lnTo>
                    <a:pt x="21" y="19"/>
                  </a:lnTo>
                  <a:lnTo>
                    <a:pt x="17" y="19"/>
                  </a:lnTo>
                  <a:lnTo>
                    <a:pt x="15" y="19"/>
                  </a:lnTo>
                  <a:lnTo>
                    <a:pt x="11" y="19"/>
                  </a:lnTo>
                  <a:lnTo>
                    <a:pt x="9" y="21"/>
                  </a:lnTo>
                  <a:lnTo>
                    <a:pt x="9" y="17"/>
                  </a:lnTo>
                </a:path>
              </a:pathLst>
            </a:custGeom>
            <a:solidFill>
              <a:srgbClr val="FF0000"/>
            </a:solidFill>
            <a:ln w="9525" cmpd="sng">
              <a:solidFill>
                <a:schemeClr val="folHlink"/>
              </a:solidFill>
              <a:prstDash val="solid"/>
              <a:round/>
              <a:headEnd/>
              <a:tailEnd/>
            </a:ln>
          </p:spPr>
          <p:txBody>
            <a:bodyPr/>
            <a:lstStyle/>
            <a:p>
              <a:endParaRPr lang="en-US"/>
            </a:p>
          </p:txBody>
        </p:sp>
        <p:sp>
          <p:nvSpPr>
            <p:cNvPr id="99" name="Freeform 42"/>
            <p:cNvSpPr>
              <a:spLocks/>
            </p:cNvSpPr>
            <p:nvPr/>
          </p:nvSpPr>
          <p:spPr bwMode="gray">
            <a:xfrm>
              <a:off x="1835" y="1425"/>
              <a:ext cx="355" cy="365"/>
            </a:xfrm>
            <a:custGeom>
              <a:avLst/>
              <a:gdLst/>
              <a:ahLst/>
              <a:cxnLst>
                <a:cxn ang="0">
                  <a:pos x="300" y="998"/>
                </a:cxn>
                <a:cxn ang="0">
                  <a:pos x="328" y="980"/>
                </a:cxn>
                <a:cxn ang="0">
                  <a:pos x="336" y="946"/>
                </a:cxn>
                <a:cxn ang="0">
                  <a:pos x="361" y="929"/>
                </a:cxn>
                <a:cxn ang="0">
                  <a:pos x="388" y="952"/>
                </a:cxn>
                <a:cxn ang="0">
                  <a:pos x="405" y="965"/>
                </a:cxn>
                <a:cxn ang="0">
                  <a:pos x="420" y="952"/>
                </a:cxn>
                <a:cxn ang="0">
                  <a:pos x="441" y="952"/>
                </a:cxn>
                <a:cxn ang="0">
                  <a:pos x="468" y="959"/>
                </a:cxn>
                <a:cxn ang="0">
                  <a:pos x="496" y="959"/>
                </a:cxn>
                <a:cxn ang="0">
                  <a:pos x="517" y="938"/>
                </a:cxn>
                <a:cxn ang="0">
                  <a:pos x="523" y="944"/>
                </a:cxn>
                <a:cxn ang="0">
                  <a:pos x="809" y="965"/>
                </a:cxn>
                <a:cxn ang="0">
                  <a:pos x="702" y="0"/>
                </a:cxn>
                <a:cxn ang="0">
                  <a:pos x="405" y="294"/>
                </a:cxn>
                <a:cxn ang="0">
                  <a:pos x="376" y="305"/>
                </a:cxn>
                <a:cxn ang="0">
                  <a:pos x="351" y="318"/>
                </a:cxn>
                <a:cxn ang="0">
                  <a:pos x="328" y="334"/>
                </a:cxn>
                <a:cxn ang="0">
                  <a:pos x="21" y="442"/>
                </a:cxn>
                <a:cxn ang="0">
                  <a:pos x="10" y="458"/>
                </a:cxn>
                <a:cxn ang="0">
                  <a:pos x="16" y="456"/>
                </a:cxn>
                <a:cxn ang="0">
                  <a:pos x="31" y="448"/>
                </a:cxn>
                <a:cxn ang="0">
                  <a:pos x="52" y="479"/>
                </a:cxn>
                <a:cxn ang="0">
                  <a:pos x="67" y="509"/>
                </a:cxn>
                <a:cxn ang="0">
                  <a:pos x="59" y="536"/>
                </a:cxn>
                <a:cxn ang="0">
                  <a:pos x="46" y="559"/>
                </a:cxn>
                <a:cxn ang="0">
                  <a:pos x="37" y="584"/>
                </a:cxn>
                <a:cxn ang="0">
                  <a:pos x="40" y="607"/>
                </a:cxn>
                <a:cxn ang="0">
                  <a:pos x="50" y="631"/>
                </a:cxn>
                <a:cxn ang="0">
                  <a:pos x="50" y="650"/>
                </a:cxn>
                <a:cxn ang="0">
                  <a:pos x="50" y="673"/>
                </a:cxn>
                <a:cxn ang="0">
                  <a:pos x="50" y="706"/>
                </a:cxn>
                <a:cxn ang="0">
                  <a:pos x="44" y="734"/>
                </a:cxn>
                <a:cxn ang="0">
                  <a:pos x="23" y="769"/>
                </a:cxn>
                <a:cxn ang="0">
                  <a:pos x="8" y="807"/>
                </a:cxn>
                <a:cxn ang="0">
                  <a:pos x="2" y="830"/>
                </a:cxn>
                <a:cxn ang="0">
                  <a:pos x="2" y="841"/>
                </a:cxn>
                <a:cxn ang="0">
                  <a:pos x="2" y="845"/>
                </a:cxn>
                <a:cxn ang="0">
                  <a:pos x="17" y="834"/>
                </a:cxn>
                <a:cxn ang="0">
                  <a:pos x="35" y="832"/>
                </a:cxn>
                <a:cxn ang="0">
                  <a:pos x="48" y="832"/>
                </a:cxn>
                <a:cxn ang="0">
                  <a:pos x="69" y="830"/>
                </a:cxn>
                <a:cxn ang="0">
                  <a:pos x="109" y="822"/>
                </a:cxn>
                <a:cxn ang="0">
                  <a:pos x="136" y="828"/>
                </a:cxn>
                <a:cxn ang="0">
                  <a:pos x="157" y="841"/>
                </a:cxn>
                <a:cxn ang="0">
                  <a:pos x="172" y="860"/>
                </a:cxn>
                <a:cxn ang="0">
                  <a:pos x="187" y="876"/>
                </a:cxn>
                <a:cxn ang="0">
                  <a:pos x="214" y="883"/>
                </a:cxn>
                <a:cxn ang="0">
                  <a:pos x="225" y="897"/>
                </a:cxn>
                <a:cxn ang="0">
                  <a:pos x="227" y="917"/>
                </a:cxn>
                <a:cxn ang="0">
                  <a:pos x="241" y="938"/>
                </a:cxn>
                <a:cxn ang="0">
                  <a:pos x="260" y="963"/>
                </a:cxn>
                <a:cxn ang="0">
                  <a:pos x="275" y="988"/>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solidFill>
              <a:srgbClr val="FF0000"/>
            </a:solidFill>
            <a:ln w="9525" cmpd="sng">
              <a:solidFill>
                <a:schemeClr val="folHlink"/>
              </a:solidFill>
              <a:prstDash val="solid"/>
              <a:round/>
              <a:headEnd/>
              <a:tailEnd/>
            </a:ln>
          </p:spPr>
          <p:txBody>
            <a:bodyPr/>
            <a:lstStyle/>
            <a:p>
              <a:endParaRPr lang="en-US"/>
            </a:p>
          </p:txBody>
        </p:sp>
        <p:sp>
          <p:nvSpPr>
            <p:cNvPr id="100" name="Freeform 43"/>
            <p:cNvSpPr>
              <a:spLocks/>
            </p:cNvSpPr>
            <p:nvPr/>
          </p:nvSpPr>
          <p:spPr bwMode="gray">
            <a:xfrm>
              <a:off x="1845" y="1404"/>
              <a:ext cx="255" cy="189"/>
            </a:xfrm>
            <a:custGeom>
              <a:avLst/>
              <a:gdLst/>
              <a:ahLst/>
              <a:cxnLst>
                <a:cxn ang="0">
                  <a:pos x="0" y="492"/>
                </a:cxn>
                <a:cxn ang="0">
                  <a:pos x="15" y="458"/>
                </a:cxn>
                <a:cxn ang="0">
                  <a:pos x="32" y="421"/>
                </a:cxn>
                <a:cxn ang="0">
                  <a:pos x="55" y="385"/>
                </a:cxn>
                <a:cxn ang="0">
                  <a:pos x="78" y="351"/>
                </a:cxn>
                <a:cxn ang="0">
                  <a:pos x="103" y="316"/>
                </a:cxn>
                <a:cxn ang="0">
                  <a:pos x="130" y="288"/>
                </a:cxn>
                <a:cxn ang="0">
                  <a:pos x="158" y="261"/>
                </a:cxn>
                <a:cxn ang="0">
                  <a:pos x="187" y="242"/>
                </a:cxn>
                <a:cxn ang="0">
                  <a:pos x="191" y="238"/>
                </a:cxn>
                <a:cxn ang="0">
                  <a:pos x="198" y="227"/>
                </a:cxn>
                <a:cxn ang="0">
                  <a:pos x="202" y="215"/>
                </a:cxn>
                <a:cxn ang="0">
                  <a:pos x="206" y="202"/>
                </a:cxn>
                <a:cxn ang="0">
                  <a:pos x="206" y="196"/>
                </a:cxn>
                <a:cxn ang="0">
                  <a:pos x="208" y="189"/>
                </a:cxn>
                <a:cxn ang="0">
                  <a:pos x="214" y="177"/>
                </a:cxn>
                <a:cxn ang="0">
                  <a:pos x="219" y="166"/>
                </a:cxn>
                <a:cxn ang="0">
                  <a:pos x="227" y="152"/>
                </a:cxn>
                <a:cxn ang="0">
                  <a:pos x="235" y="139"/>
                </a:cxn>
                <a:cxn ang="0">
                  <a:pos x="242" y="126"/>
                </a:cxn>
                <a:cxn ang="0">
                  <a:pos x="250" y="116"/>
                </a:cxn>
                <a:cxn ang="0">
                  <a:pos x="258" y="108"/>
                </a:cxn>
                <a:cxn ang="0">
                  <a:pos x="261" y="105"/>
                </a:cxn>
                <a:cxn ang="0">
                  <a:pos x="275" y="99"/>
                </a:cxn>
                <a:cxn ang="0">
                  <a:pos x="288" y="95"/>
                </a:cxn>
                <a:cxn ang="0">
                  <a:pos x="301" y="91"/>
                </a:cxn>
                <a:cxn ang="0">
                  <a:pos x="307" y="87"/>
                </a:cxn>
                <a:cxn ang="0">
                  <a:pos x="317" y="78"/>
                </a:cxn>
                <a:cxn ang="0">
                  <a:pos x="326" y="68"/>
                </a:cxn>
                <a:cxn ang="0">
                  <a:pos x="334" y="57"/>
                </a:cxn>
                <a:cxn ang="0">
                  <a:pos x="341" y="44"/>
                </a:cxn>
                <a:cxn ang="0">
                  <a:pos x="349" y="32"/>
                </a:cxn>
                <a:cxn ang="0">
                  <a:pos x="355" y="21"/>
                </a:cxn>
                <a:cxn ang="0">
                  <a:pos x="362" y="9"/>
                </a:cxn>
                <a:cxn ang="0">
                  <a:pos x="370" y="0"/>
                </a:cxn>
                <a:cxn ang="0">
                  <a:pos x="675" y="59"/>
                </a:cxn>
                <a:cxn ang="0">
                  <a:pos x="422" y="152"/>
                </a:cxn>
                <a:cxn ang="0">
                  <a:pos x="383" y="351"/>
                </a:cxn>
                <a:cxn ang="0">
                  <a:pos x="372" y="355"/>
                </a:cxn>
                <a:cxn ang="0">
                  <a:pos x="361" y="360"/>
                </a:cxn>
                <a:cxn ang="0">
                  <a:pos x="349" y="364"/>
                </a:cxn>
                <a:cxn ang="0">
                  <a:pos x="340" y="370"/>
                </a:cxn>
                <a:cxn ang="0">
                  <a:pos x="330" y="376"/>
                </a:cxn>
                <a:cxn ang="0">
                  <a:pos x="320" y="379"/>
                </a:cxn>
                <a:cxn ang="0">
                  <a:pos x="311" y="387"/>
                </a:cxn>
                <a:cxn ang="0">
                  <a:pos x="301" y="393"/>
                </a:cxn>
                <a:cxn ang="0">
                  <a:pos x="0" y="496"/>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solidFill>
              <a:srgbClr val="FF0000"/>
            </a:solidFill>
            <a:ln w="9525" cmpd="sng">
              <a:solidFill>
                <a:schemeClr val="folHlink"/>
              </a:solidFill>
              <a:prstDash val="solid"/>
              <a:round/>
              <a:headEnd/>
              <a:tailEnd/>
            </a:ln>
          </p:spPr>
          <p:txBody>
            <a:bodyPr/>
            <a:lstStyle/>
            <a:p>
              <a:endParaRPr lang="en-US"/>
            </a:p>
          </p:txBody>
        </p:sp>
        <p:sp>
          <p:nvSpPr>
            <p:cNvPr id="101" name="Freeform 44"/>
            <p:cNvSpPr>
              <a:spLocks/>
            </p:cNvSpPr>
            <p:nvPr/>
          </p:nvSpPr>
          <p:spPr bwMode="gray">
            <a:xfrm>
              <a:off x="1984" y="1185"/>
              <a:ext cx="332" cy="228"/>
            </a:xfrm>
            <a:custGeom>
              <a:avLst/>
              <a:gdLst/>
              <a:ahLst/>
              <a:cxnLst>
                <a:cxn ang="0">
                  <a:pos x="305" y="587"/>
                </a:cxn>
                <a:cxn ang="0">
                  <a:pos x="309" y="557"/>
                </a:cxn>
                <a:cxn ang="0">
                  <a:pos x="336" y="538"/>
                </a:cxn>
                <a:cxn ang="0">
                  <a:pos x="374" y="511"/>
                </a:cxn>
                <a:cxn ang="0">
                  <a:pos x="418" y="492"/>
                </a:cxn>
                <a:cxn ang="0">
                  <a:pos x="443" y="488"/>
                </a:cxn>
                <a:cxn ang="0">
                  <a:pos x="452" y="488"/>
                </a:cxn>
                <a:cxn ang="0">
                  <a:pos x="464" y="488"/>
                </a:cxn>
                <a:cxn ang="0">
                  <a:pos x="506" y="481"/>
                </a:cxn>
                <a:cxn ang="0">
                  <a:pos x="555" y="467"/>
                </a:cxn>
                <a:cxn ang="0">
                  <a:pos x="578" y="461"/>
                </a:cxn>
                <a:cxn ang="0">
                  <a:pos x="595" y="437"/>
                </a:cxn>
                <a:cxn ang="0">
                  <a:pos x="614" y="423"/>
                </a:cxn>
                <a:cxn ang="0">
                  <a:pos x="639" y="418"/>
                </a:cxn>
                <a:cxn ang="0">
                  <a:pos x="662" y="412"/>
                </a:cxn>
                <a:cxn ang="0">
                  <a:pos x="681" y="397"/>
                </a:cxn>
                <a:cxn ang="0">
                  <a:pos x="683" y="374"/>
                </a:cxn>
                <a:cxn ang="0">
                  <a:pos x="744" y="334"/>
                </a:cxn>
                <a:cxn ang="0">
                  <a:pos x="776" y="311"/>
                </a:cxn>
                <a:cxn ang="0">
                  <a:pos x="797" y="313"/>
                </a:cxn>
                <a:cxn ang="0">
                  <a:pos x="815" y="315"/>
                </a:cxn>
                <a:cxn ang="0">
                  <a:pos x="834" y="318"/>
                </a:cxn>
                <a:cxn ang="0">
                  <a:pos x="855" y="318"/>
                </a:cxn>
                <a:cxn ang="0">
                  <a:pos x="870" y="313"/>
                </a:cxn>
                <a:cxn ang="0">
                  <a:pos x="881" y="294"/>
                </a:cxn>
                <a:cxn ang="0">
                  <a:pos x="872" y="269"/>
                </a:cxn>
                <a:cxn ang="0">
                  <a:pos x="858" y="225"/>
                </a:cxn>
                <a:cxn ang="0">
                  <a:pos x="858" y="206"/>
                </a:cxn>
                <a:cxn ang="0">
                  <a:pos x="864" y="185"/>
                </a:cxn>
                <a:cxn ang="0">
                  <a:pos x="866" y="162"/>
                </a:cxn>
                <a:cxn ang="0">
                  <a:pos x="866" y="131"/>
                </a:cxn>
                <a:cxn ang="0">
                  <a:pos x="845" y="97"/>
                </a:cxn>
                <a:cxn ang="0">
                  <a:pos x="818" y="74"/>
                </a:cxn>
                <a:cxn ang="0">
                  <a:pos x="799" y="57"/>
                </a:cxn>
                <a:cxn ang="0">
                  <a:pos x="788" y="63"/>
                </a:cxn>
                <a:cxn ang="0">
                  <a:pos x="773" y="65"/>
                </a:cxn>
                <a:cxn ang="0">
                  <a:pos x="748" y="53"/>
                </a:cxn>
                <a:cxn ang="0">
                  <a:pos x="717" y="42"/>
                </a:cxn>
                <a:cxn ang="0">
                  <a:pos x="679" y="38"/>
                </a:cxn>
                <a:cxn ang="0">
                  <a:pos x="654" y="28"/>
                </a:cxn>
                <a:cxn ang="0">
                  <a:pos x="641" y="0"/>
                </a:cxn>
                <a:cxn ang="0">
                  <a:pos x="599" y="32"/>
                </a:cxn>
                <a:cxn ang="0">
                  <a:pos x="572" y="78"/>
                </a:cxn>
                <a:cxn ang="0">
                  <a:pos x="532" y="130"/>
                </a:cxn>
                <a:cxn ang="0">
                  <a:pos x="477" y="158"/>
                </a:cxn>
                <a:cxn ang="0">
                  <a:pos x="403" y="183"/>
                </a:cxn>
                <a:cxn ang="0">
                  <a:pos x="376" y="202"/>
                </a:cxn>
                <a:cxn ang="0">
                  <a:pos x="351" y="236"/>
                </a:cxn>
                <a:cxn ang="0">
                  <a:pos x="330" y="275"/>
                </a:cxn>
                <a:cxn ang="0">
                  <a:pos x="313" y="295"/>
                </a:cxn>
                <a:cxn ang="0">
                  <a:pos x="294" y="324"/>
                </a:cxn>
                <a:cxn ang="0">
                  <a:pos x="277" y="355"/>
                </a:cxn>
                <a:cxn ang="0">
                  <a:pos x="271" y="383"/>
                </a:cxn>
                <a:cxn ang="0">
                  <a:pos x="277" y="395"/>
                </a:cxn>
                <a:cxn ang="0">
                  <a:pos x="279" y="418"/>
                </a:cxn>
                <a:cxn ang="0">
                  <a:pos x="248" y="456"/>
                </a:cxn>
                <a:cxn ang="0">
                  <a:pos x="214" y="481"/>
                </a:cxn>
                <a:cxn ang="0">
                  <a:pos x="164" y="511"/>
                </a:cxn>
                <a:cxn ang="0">
                  <a:pos x="113" y="536"/>
                </a:cxn>
                <a:cxn ang="0">
                  <a:pos x="71" y="547"/>
                </a:cxn>
                <a:cxn ang="0">
                  <a:pos x="40" y="555"/>
                </a:cxn>
                <a:cxn ang="0">
                  <a:pos x="17" y="570"/>
                </a:cxn>
                <a:cxn ang="0">
                  <a:pos x="2" y="59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solidFill>
              <a:srgbClr val="FFC000"/>
            </a:solidFill>
            <a:ln w="9525" cmpd="sng">
              <a:solidFill>
                <a:schemeClr val="folHlink"/>
              </a:solidFill>
              <a:prstDash val="solid"/>
              <a:round/>
              <a:headEnd/>
              <a:tailEnd/>
            </a:ln>
          </p:spPr>
          <p:txBody>
            <a:bodyPr/>
            <a:lstStyle/>
            <a:p>
              <a:endParaRPr lang="en-US"/>
            </a:p>
          </p:txBody>
        </p:sp>
        <p:sp>
          <p:nvSpPr>
            <p:cNvPr id="102" name="Freeform 45"/>
            <p:cNvSpPr>
              <a:spLocks/>
            </p:cNvSpPr>
            <p:nvPr/>
          </p:nvSpPr>
          <p:spPr bwMode="gray">
            <a:xfrm>
              <a:off x="2098" y="1171"/>
              <a:ext cx="554" cy="516"/>
            </a:xfrm>
            <a:custGeom>
              <a:avLst/>
              <a:gdLst/>
              <a:ahLst/>
              <a:cxnLst>
                <a:cxn ang="0">
                  <a:pos x="639" y="1230"/>
                </a:cxn>
                <a:cxn ang="0">
                  <a:pos x="649" y="1266"/>
                </a:cxn>
                <a:cxn ang="0">
                  <a:pos x="670" y="1278"/>
                </a:cxn>
                <a:cxn ang="0">
                  <a:pos x="718" y="1318"/>
                </a:cxn>
                <a:cxn ang="0">
                  <a:pos x="794" y="1366"/>
                </a:cxn>
                <a:cxn ang="0">
                  <a:pos x="786" y="1394"/>
                </a:cxn>
                <a:cxn ang="0">
                  <a:pos x="796" y="1411"/>
                </a:cxn>
                <a:cxn ang="0">
                  <a:pos x="1469" y="1051"/>
                </a:cxn>
                <a:cxn ang="0">
                  <a:pos x="1442" y="1015"/>
                </a:cxn>
                <a:cxn ang="0">
                  <a:pos x="1401" y="982"/>
                </a:cxn>
                <a:cxn ang="0">
                  <a:pos x="1364" y="978"/>
                </a:cxn>
                <a:cxn ang="0">
                  <a:pos x="1347" y="959"/>
                </a:cxn>
                <a:cxn ang="0">
                  <a:pos x="1326" y="919"/>
                </a:cxn>
                <a:cxn ang="0">
                  <a:pos x="1292" y="854"/>
                </a:cxn>
                <a:cxn ang="0">
                  <a:pos x="1324" y="818"/>
                </a:cxn>
                <a:cxn ang="0">
                  <a:pos x="1324" y="776"/>
                </a:cxn>
                <a:cxn ang="0">
                  <a:pos x="1334" y="736"/>
                </a:cxn>
                <a:cxn ang="0">
                  <a:pos x="1334" y="698"/>
                </a:cxn>
                <a:cxn ang="0">
                  <a:pos x="1334" y="652"/>
                </a:cxn>
                <a:cxn ang="0">
                  <a:pos x="1322" y="585"/>
                </a:cxn>
                <a:cxn ang="0">
                  <a:pos x="1294" y="520"/>
                </a:cxn>
                <a:cxn ang="0">
                  <a:pos x="1277" y="442"/>
                </a:cxn>
                <a:cxn ang="0">
                  <a:pos x="1250" y="381"/>
                </a:cxn>
                <a:cxn ang="0">
                  <a:pos x="1198" y="314"/>
                </a:cxn>
                <a:cxn ang="0">
                  <a:pos x="1175" y="248"/>
                </a:cxn>
                <a:cxn ang="0">
                  <a:pos x="1221" y="190"/>
                </a:cxn>
                <a:cxn ang="0">
                  <a:pos x="1248" y="131"/>
                </a:cxn>
                <a:cxn ang="0">
                  <a:pos x="1257" y="47"/>
                </a:cxn>
                <a:cxn ang="0">
                  <a:pos x="1267" y="11"/>
                </a:cxn>
                <a:cxn ang="0">
                  <a:pos x="1223" y="2"/>
                </a:cxn>
                <a:cxn ang="0">
                  <a:pos x="1193" y="5"/>
                </a:cxn>
                <a:cxn ang="0">
                  <a:pos x="1156" y="13"/>
                </a:cxn>
                <a:cxn ang="0">
                  <a:pos x="1124" y="5"/>
                </a:cxn>
                <a:cxn ang="0">
                  <a:pos x="1088" y="30"/>
                </a:cxn>
                <a:cxn ang="0">
                  <a:pos x="1034" y="28"/>
                </a:cxn>
                <a:cxn ang="0">
                  <a:pos x="876" y="17"/>
                </a:cxn>
                <a:cxn ang="0">
                  <a:pos x="758" y="38"/>
                </a:cxn>
                <a:cxn ang="0">
                  <a:pos x="702" y="61"/>
                </a:cxn>
                <a:cxn ang="0">
                  <a:pos x="678" y="68"/>
                </a:cxn>
                <a:cxn ang="0">
                  <a:pos x="634" y="76"/>
                </a:cxn>
                <a:cxn ang="0">
                  <a:pos x="573" y="114"/>
                </a:cxn>
                <a:cxn ang="0">
                  <a:pos x="534" y="118"/>
                </a:cxn>
                <a:cxn ang="0">
                  <a:pos x="540" y="131"/>
                </a:cxn>
                <a:cxn ang="0">
                  <a:pos x="563" y="175"/>
                </a:cxn>
                <a:cxn ang="0">
                  <a:pos x="561" y="219"/>
                </a:cxn>
                <a:cxn ang="0">
                  <a:pos x="555" y="257"/>
                </a:cxn>
                <a:cxn ang="0">
                  <a:pos x="578" y="322"/>
                </a:cxn>
                <a:cxn ang="0">
                  <a:pos x="563" y="353"/>
                </a:cxn>
                <a:cxn ang="0">
                  <a:pos x="531" y="356"/>
                </a:cxn>
                <a:cxn ang="0">
                  <a:pos x="494" y="351"/>
                </a:cxn>
                <a:cxn ang="0">
                  <a:pos x="460" y="351"/>
                </a:cxn>
                <a:cxn ang="0">
                  <a:pos x="382" y="423"/>
                </a:cxn>
                <a:cxn ang="0">
                  <a:pos x="353" y="452"/>
                </a:cxn>
                <a:cxn ang="0">
                  <a:pos x="311" y="461"/>
                </a:cxn>
                <a:cxn ang="0">
                  <a:pos x="279" y="496"/>
                </a:cxn>
                <a:cxn ang="0">
                  <a:pos x="224" y="513"/>
                </a:cxn>
                <a:cxn ang="0">
                  <a:pos x="157" y="526"/>
                </a:cxn>
                <a:cxn ang="0">
                  <a:pos x="140" y="526"/>
                </a:cxn>
                <a:cxn ang="0">
                  <a:pos x="71" y="549"/>
                </a:cxn>
                <a:cxn ang="0">
                  <a:pos x="12" y="591"/>
                </a:cxn>
                <a:cxn ang="0">
                  <a:pos x="6" y="664"/>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solidFill>
              <a:srgbClr val="FFFF00"/>
            </a:solidFill>
            <a:ln w="9525" cmpd="sng">
              <a:solidFill>
                <a:schemeClr val="folHlink"/>
              </a:solidFill>
              <a:prstDash val="solid"/>
              <a:round/>
              <a:headEnd/>
              <a:tailEnd/>
            </a:ln>
          </p:spPr>
          <p:txBody>
            <a:bodyPr/>
            <a:lstStyle/>
            <a:p>
              <a:endParaRPr lang="en-US"/>
            </a:p>
          </p:txBody>
        </p:sp>
        <p:sp>
          <p:nvSpPr>
            <p:cNvPr id="103" name="Freeform 46"/>
            <p:cNvSpPr>
              <a:spLocks/>
            </p:cNvSpPr>
            <p:nvPr/>
          </p:nvSpPr>
          <p:spPr bwMode="gray">
            <a:xfrm>
              <a:off x="2538" y="1166"/>
              <a:ext cx="110" cy="204"/>
            </a:xfrm>
            <a:custGeom>
              <a:avLst/>
              <a:gdLst/>
              <a:ahLst/>
              <a:cxnLst>
                <a:cxn ang="0">
                  <a:pos x="124" y="554"/>
                </a:cxn>
                <a:cxn ang="0">
                  <a:pos x="121" y="542"/>
                </a:cxn>
                <a:cxn ang="0">
                  <a:pos x="115" y="525"/>
                </a:cxn>
                <a:cxn ang="0">
                  <a:pos x="107" y="485"/>
                </a:cxn>
                <a:cxn ang="0">
                  <a:pos x="102" y="449"/>
                </a:cxn>
                <a:cxn ang="0">
                  <a:pos x="90" y="418"/>
                </a:cxn>
                <a:cxn ang="0">
                  <a:pos x="75" y="397"/>
                </a:cxn>
                <a:cxn ang="0">
                  <a:pos x="56" y="374"/>
                </a:cxn>
                <a:cxn ang="0">
                  <a:pos x="31" y="340"/>
                </a:cxn>
                <a:cxn ang="0">
                  <a:pos x="8" y="302"/>
                </a:cxn>
                <a:cxn ang="0">
                  <a:pos x="0" y="273"/>
                </a:cxn>
                <a:cxn ang="0">
                  <a:pos x="6" y="246"/>
                </a:cxn>
                <a:cxn ang="0">
                  <a:pos x="27" y="222"/>
                </a:cxn>
                <a:cxn ang="0">
                  <a:pos x="52" y="203"/>
                </a:cxn>
                <a:cxn ang="0">
                  <a:pos x="69" y="178"/>
                </a:cxn>
                <a:cxn ang="0">
                  <a:pos x="73" y="147"/>
                </a:cxn>
                <a:cxn ang="0">
                  <a:pos x="77" y="107"/>
                </a:cxn>
                <a:cxn ang="0">
                  <a:pos x="81" y="71"/>
                </a:cxn>
                <a:cxn ang="0">
                  <a:pos x="94" y="42"/>
                </a:cxn>
                <a:cxn ang="0">
                  <a:pos x="113" y="29"/>
                </a:cxn>
                <a:cxn ang="0">
                  <a:pos x="130" y="19"/>
                </a:cxn>
                <a:cxn ang="0">
                  <a:pos x="145" y="10"/>
                </a:cxn>
                <a:cxn ang="0">
                  <a:pos x="161" y="2"/>
                </a:cxn>
                <a:cxn ang="0">
                  <a:pos x="178" y="0"/>
                </a:cxn>
                <a:cxn ang="0">
                  <a:pos x="210" y="21"/>
                </a:cxn>
                <a:cxn ang="0">
                  <a:pos x="233" y="42"/>
                </a:cxn>
                <a:cxn ang="0">
                  <a:pos x="246" y="39"/>
                </a:cxn>
                <a:cxn ang="0">
                  <a:pos x="262" y="29"/>
                </a:cxn>
                <a:cxn ang="0">
                  <a:pos x="269" y="33"/>
                </a:cxn>
                <a:cxn ang="0">
                  <a:pos x="271" y="46"/>
                </a:cxn>
                <a:cxn ang="0">
                  <a:pos x="243" y="71"/>
                </a:cxn>
                <a:cxn ang="0">
                  <a:pos x="231" y="90"/>
                </a:cxn>
                <a:cxn ang="0">
                  <a:pos x="235" y="107"/>
                </a:cxn>
                <a:cxn ang="0">
                  <a:pos x="245" y="124"/>
                </a:cxn>
                <a:cxn ang="0">
                  <a:pos x="256" y="143"/>
                </a:cxn>
                <a:cxn ang="0">
                  <a:pos x="260" y="166"/>
                </a:cxn>
                <a:cxn ang="0">
                  <a:pos x="254" y="189"/>
                </a:cxn>
                <a:cxn ang="0">
                  <a:pos x="235" y="210"/>
                </a:cxn>
                <a:cxn ang="0">
                  <a:pos x="212" y="225"/>
                </a:cxn>
                <a:cxn ang="0">
                  <a:pos x="199" y="246"/>
                </a:cxn>
                <a:cxn ang="0">
                  <a:pos x="203" y="269"/>
                </a:cxn>
                <a:cxn ang="0">
                  <a:pos x="229" y="287"/>
                </a:cxn>
                <a:cxn ang="0">
                  <a:pos x="264" y="290"/>
                </a:cxn>
                <a:cxn ang="0">
                  <a:pos x="279" y="317"/>
                </a:cxn>
                <a:cxn ang="0">
                  <a:pos x="292" y="338"/>
                </a:cxn>
                <a:cxn ang="0">
                  <a:pos x="290" y="355"/>
                </a:cxn>
                <a:cxn ang="0">
                  <a:pos x="288" y="372"/>
                </a:cxn>
                <a:cxn ang="0">
                  <a:pos x="281" y="386"/>
                </a:cxn>
                <a:cxn ang="0">
                  <a:pos x="250" y="405"/>
                </a:cxn>
                <a:cxn ang="0">
                  <a:pos x="218" y="428"/>
                </a:cxn>
                <a:cxn ang="0">
                  <a:pos x="195" y="451"/>
                </a:cxn>
                <a:cxn ang="0">
                  <a:pos x="193" y="468"/>
                </a:cxn>
                <a:cxn ang="0">
                  <a:pos x="191" y="483"/>
                </a:cxn>
                <a:cxn ang="0">
                  <a:pos x="193" y="491"/>
                </a:cxn>
                <a:cxn ang="0">
                  <a:pos x="193" y="515"/>
                </a:cxn>
                <a:cxn ang="0">
                  <a:pos x="178" y="536"/>
                </a:cxn>
                <a:cxn ang="0">
                  <a:pos x="155" y="552"/>
                </a:cxn>
                <a:cxn ang="0">
                  <a:pos x="134" y="559"/>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solidFill>
              <a:srgbClr val="FFC000"/>
            </a:solidFill>
            <a:ln w="9525" cmpd="sng">
              <a:solidFill>
                <a:schemeClr val="folHlink"/>
              </a:solidFill>
              <a:prstDash val="solid"/>
              <a:round/>
              <a:headEnd/>
              <a:tailEnd/>
            </a:ln>
          </p:spPr>
          <p:txBody>
            <a:bodyPr/>
            <a:lstStyle/>
            <a:p>
              <a:endParaRPr lang="en-US"/>
            </a:p>
          </p:txBody>
        </p:sp>
        <p:sp>
          <p:nvSpPr>
            <p:cNvPr id="104" name="Freeform 47"/>
            <p:cNvSpPr>
              <a:spLocks/>
            </p:cNvSpPr>
            <p:nvPr/>
          </p:nvSpPr>
          <p:spPr bwMode="gray">
            <a:xfrm>
              <a:off x="2129" y="1795"/>
              <a:ext cx="232" cy="161"/>
            </a:xfrm>
            <a:custGeom>
              <a:avLst/>
              <a:gdLst/>
              <a:ahLst/>
              <a:cxnLst>
                <a:cxn ang="0">
                  <a:pos x="596" y="238"/>
                </a:cxn>
                <a:cxn ang="0">
                  <a:pos x="594" y="219"/>
                </a:cxn>
                <a:cxn ang="0">
                  <a:pos x="605" y="219"/>
                </a:cxn>
                <a:cxn ang="0">
                  <a:pos x="605" y="200"/>
                </a:cxn>
                <a:cxn ang="0">
                  <a:pos x="584" y="193"/>
                </a:cxn>
                <a:cxn ang="0">
                  <a:pos x="567" y="200"/>
                </a:cxn>
                <a:cxn ang="0">
                  <a:pos x="536" y="185"/>
                </a:cxn>
                <a:cxn ang="0">
                  <a:pos x="517" y="160"/>
                </a:cxn>
                <a:cxn ang="0">
                  <a:pos x="535" y="151"/>
                </a:cxn>
                <a:cxn ang="0">
                  <a:pos x="514" y="124"/>
                </a:cxn>
                <a:cxn ang="0">
                  <a:pos x="472" y="76"/>
                </a:cxn>
                <a:cxn ang="0">
                  <a:pos x="462" y="15"/>
                </a:cxn>
                <a:cxn ang="0">
                  <a:pos x="426" y="4"/>
                </a:cxn>
                <a:cxn ang="0">
                  <a:pos x="386" y="0"/>
                </a:cxn>
                <a:cxn ang="0">
                  <a:pos x="346" y="17"/>
                </a:cxn>
                <a:cxn ang="0">
                  <a:pos x="308" y="40"/>
                </a:cxn>
                <a:cxn ang="0">
                  <a:pos x="290" y="53"/>
                </a:cxn>
                <a:cxn ang="0">
                  <a:pos x="275" y="69"/>
                </a:cxn>
                <a:cxn ang="0">
                  <a:pos x="260" y="59"/>
                </a:cxn>
                <a:cxn ang="0">
                  <a:pos x="233" y="70"/>
                </a:cxn>
                <a:cxn ang="0">
                  <a:pos x="206" y="105"/>
                </a:cxn>
                <a:cxn ang="0">
                  <a:pos x="184" y="109"/>
                </a:cxn>
                <a:cxn ang="0">
                  <a:pos x="180" y="128"/>
                </a:cxn>
                <a:cxn ang="0">
                  <a:pos x="163" y="141"/>
                </a:cxn>
                <a:cxn ang="0">
                  <a:pos x="140" y="126"/>
                </a:cxn>
                <a:cxn ang="0">
                  <a:pos x="117" y="130"/>
                </a:cxn>
                <a:cxn ang="0">
                  <a:pos x="102" y="147"/>
                </a:cxn>
                <a:cxn ang="0">
                  <a:pos x="107" y="158"/>
                </a:cxn>
                <a:cxn ang="0">
                  <a:pos x="58" y="233"/>
                </a:cxn>
                <a:cxn ang="0">
                  <a:pos x="23" y="254"/>
                </a:cxn>
                <a:cxn ang="0">
                  <a:pos x="23" y="263"/>
                </a:cxn>
                <a:cxn ang="0">
                  <a:pos x="21" y="288"/>
                </a:cxn>
                <a:cxn ang="0">
                  <a:pos x="0" y="318"/>
                </a:cxn>
                <a:cxn ang="0">
                  <a:pos x="4" y="341"/>
                </a:cxn>
                <a:cxn ang="0">
                  <a:pos x="18" y="362"/>
                </a:cxn>
                <a:cxn ang="0">
                  <a:pos x="42" y="387"/>
                </a:cxn>
                <a:cxn ang="0">
                  <a:pos x="67" y="414"/>
                </a:cxn>
                <a:cxn ang="0">
                  <a:pos x="109" y="412"/>
                </a:cxn>
                <a:cxn ang="0">
                  <a:pos x="145" y="401"/>
                </a:cxn>
                <a:cxn ang="0">
                  <a:pos x="193" y="429"/>
                </a:cxn>
                <a:cxn ang="0">
                  <a:pos x="203" y="433"/>
                </a:cxn>
                <a:cxn ang="0">
                  <a:pos x="201" y="420"/>
                </a:cxn>
                <a:cxn ang="0">
                  <a:pos x="201" y="391"/>
                </a:cxn>
                <a:cxn ang="0">
                  <a:pos x="201" y="370"/>
                </a:cxn>
                <a:cxn ang="0">
                  <a:pos x="203" y="343"/>
                </a:cxn>
                <a:cxn ang="0">
                  <a:pos x="225" y="317"/>
                </a:cxn>
                <a:cxn ang="0">
                  <a:pos x="359" y="332"/>
                </a:cxn>
                <a:cxn ang="0">
                  <a:pos x="390" y="336"/>
                </a:cxn>
                <a:cxn ang="0">
                  <a:pos x="414" y="322"/>
                </a:cxn>
                <a:cxn ang="0">
                  <a:pos x="432" y="320"/>
                </a:cxn>
                <a:cxn ang="0">
                  <a:pos x="458" y="324"/>
                </a:cxn>
                <a:cxn ang="0">
                  <a:pos x="494" y="336"/>
                </a:cxn>
                <a:cxn ang="0">
                  <a:pos x="514" y="311"/>
                </a:cxn>
                <a:cxn ang="0">
                  <a:pos x="542" y="297"/>
                </a:cxn>
                <a:cxn ang="0">
                  <a:pos x="576" y="294"/>
                </a:cxn>
                <a:cxn ang="0">
                  <a:pos x="609" y="254"/>
                </a:cxn>
                <a:cxn ang="0">
                  <a:pos x="618" y="236"/>
                </a:cxn>
              </a:cxnLst>
              <a:rect l="0" t="0" r="r" b="b"/>
              <a:pathLst>
                <a:path w="618" h="442">
                  <a:moveTo>
                    <a:pt x="609" y="248"/>
                  </a:moveTo>
                  <a:lnTo>
                    <a:pt x="609" y="248"/>
                  </a:lnTo>
                  <a:lnTo>
                    <a:pt x="605" y="246"/>
                  </a:lnTo>
                  <a:lnTo>
                    <a:pt x="601" y="244"/>
                  </a:lnTo>
                  <a:lnTo>
                    <a:pt x="597" y="240"/>
                  </a:lnTo>
                  <a:lnTo>
                    <a:pt x="596" y="238"/>
                  </a:lnTo>
                  <a:lnTo>
                    <a:pt x="594" y="235"/>
                  </a:lnTo>
                  <a:lnTo>
                    <a:pt x="592" y="231"/>
                  </a:lnTo>
                  <a:lnTo>
                    <a:pt x="592" y="225"/>
                  </a:lnTo>
                  <a:lnTo>
                    <a:pt x="592" y="217"/>
                  </a:lnTo>
                  <a:lnTo>
                    <a:pt x="592" y="217"/>
                  </a:lnTo>
                  <a:lnTo>
                    <a:pt x="594" y="219"/>
                  </a:lnTo>
                  <a:lnTo>
                    <a:pt x="596" y="221"/>
                  </a:lnTo>
                  <a:lnTo>
                    <a:pt x="597" y="221"/>
                  </a:lnTo>
                  <a:lnTo>
                    <a:pt x="597" y="221"/>
                  </a:lnTo>
                  <a:lnTo>
                    <a:pt x="599" y="221"/>
                  </a:lnTo>
                  <a:lnTo>
                    <a:pt x="603" y="219"/>
                  </a:lnTo>
                  <a:lnTo>
                    <a:pt x="605" y="219"/>
                  </a:lnTo>
                  <a:lnTo>
                    <a:pt x="609" y="217"/>
                  </a:lnTo>
                  <a:lnTo>
                    <a:pt x="609" y="217"/>
                  </a:lnTo>
                  <a:lnTo>
                    <a:pt x="609" y="214"/>
                  </a:lnTo>
                  <a:lnTo>
                    <a:pt x="607" y="208"/>
                  </a:lnTo>
                  <a:lnTo>
                    <a:pt x="607" y="204"/>
                  </a:lnTo>
                  <a:lnTo>
                    <a:pt x="605" y="200"/>
                  </a:lnTo>
                  <a:lnTo>
                    <a:pt x="601" y="196"/>
                  </a:lnTo>
                  <a:lnTo>
                    <a:pt x="599" y="194"/>
                  </a:lnTo>
                  <a:lnTo>
                    <a:pt x="594" y="193"/>
                  </a:lnTo>
                  <a:lnTo>
                    <a:pt x="590" y="193"/>
                  </a:lnTo>
                  <a:lnTo>
                    <a:pt x="590" y="193"/>
                  </a:lnTo>
                  <a:lnTo>
                    <a:pt x="584" y="193"/>
                  </a:lnTo>
                  <a:lnTo>
                    <a:pt x="580" y="193"/>
                  </a:lnTo>
                  <a:lnTo>
                    <a:pt x="578" y="194"/>
                  </a:lnTo>
                  <a:lnTo>
                    <a:pt x="575" y="196"/>
                  </a:lnTo>
                  <a:lnTo>
                    <a:pt x="573" y="198"/>
                  </a:lnTo>
                  <a:lnTo>
                    <a:pt x="571" y="198"/>
                  </a:lnTo>
                  <a:lnTo>
                    <a:pt x="567" y="200"/>
                  </a:lnTo>
                  <a:lnTo>
                    <a:pt x="565" y="200"/>
                  </a:lnTo>
                  <a:lnTo>
                    <a:pt x="565" y="200"/>
                  </a:lnTo>
                  <a:lnTo>
                    <a:pt x="559" y="198"/>
                  </a:lnTo>
                  <a:lnTo>
                    <a:pt x="552" y="196"/>
                  </a:lnTo>
                  <a:lnTo>
                    <a:pt x="544" y="191"/>
                  </a:lnTo>
                  <a:lnTo>
                    <a:pt x="536" y="185"/>
                  </a:lnTo>
                  <a:lnTo>
                    <a:pt x="529" y="179"/>
                  </a:lnTo>
                  <a:lnTo>
                    <a:pt x="523" y="173"/>
                  </a:lnTo>
                  <a:lnTo>
                    <a:pt x="517" y="168"/>
                  </a:lnTo>
                  <a:lnTo>
                    <a:pt x="514" y="162"/>
                  </a:lnTo>
                  <a:lnTo>
                    <a:pt x="514" y="162"/>
                  </a:lnTo>
                  <a:lnTo>
                    <a:pt x="517" y="160"/>
                  </a:lnTo>
                  <a:lnTo>
                    <a:pt x="519" y="158"/>
                  </a:lnTo>
                  <a:lnTo>
                    <a:pt x="523" y="158"/>
                  </a:lnTo>
                  <a:lnTo>
                    <a:pt x="525" y="156"/>
                  </a:lnTo>
                  <a:lnTo>
                    <a:pt x="529" y="154"/>
                  </a:lnTo>
                  <a:lnTo>
                    <a:pt x="531" y="153"/>
                  </a:lnTo>
                  <a:lnTo>
                    <a:pt x="535" y="151"/>
                  </a:lnTo>
                  <a:lnTo>
                    <a:pt x="538" y="149"/>
                  </a:lnTo>
                  <a:lnTo>
                    <a:pt x="538" y="149"/>
                  </a:lnTo>
                  <a:lnTo>
                    <a:pt x="533" y="143"/>
                  </a:lnTo>
                  <a:lnTo>
                    <a:pt x="527" y="137"/>
                  </a:lnTo>
                  <a:lnTo>
                    <a:pt x="521" y="132"/>
                  </a:lnTo>
                  <a:lnTo>
                    <a:pt x="514" y="124"/>
                  </a:lnTo>
                  <a:lnTo>
                    <a:pt x="506" y="118"/>
                  </a:lnTo>
                  <a:lnTo>
                    <a:pt x="498" y="111"/>
                  </a:lnTo>
                  <a:lnTo>
                    <a:pt x="493" y="103"/>
                  </a:lnTo>
                  <a:lnTo>
                    <a:pt x="485" y="93"/>
                  </a:lnTo>
                  <a:lnTo>
                    <a:pt x="477" y="86"/>
                  </a:lnTo>
                  <a:lnTo>
                    <a:pt x="472" y="76"/>
                  </a:lnTo>
                  <a:lnTo>
                    <a:pt x="468" y="67"/>
                  </a:lnTo>
                  <a:lnTo>
                    <a:pt x="462" y="57"/>
                  </a:lnTo>
                  <a:lnTo>
                    <a:pt x="460" y="48"/>
                  </a:lnTo>
                  <a:lnTo>
                    <a:pt x="458" y="36"/>
                  </a:lnTo>
                  <a:lnTo>
                    <a:pt x="458" y="27"/>
                  </a:lnTo>
                  <a:lnTo>
                    <a:pt x="462" y="15"/>
                  </a:lnTo>
                  <a:lnTo>
                    <a:pt x="462" y="15"/>
                  </a:lnTo>
                  <a:lnTo>
                    <a:pt x="454" y="13"/>
                  </a:lnTo>
                  <a:lnTo>
                    <a:pt x="447" y="11"/>
                  </a:lnTo>
                  <a:lnTo>
                    <a:pt x="439" y="9"/>
                  </a:lnTo>
                  <a:lnTo>
                    <a:pt x="433" y="6"/>
                  </a:lnTo>
                  <a:lnTo>
                    <a:pt x="426" y="4"/>
                  </a:lnTo>
                  <a:lnTo>
                    <a:pt x="418" y="2"/>
                  </a:lnTo>
                  <a:lnTo>
                    <a:pt x="409" y="0"/>
                  </a:lnTo>
                  <a:lnTo>
                    <a:pt x="399" y="0"/>
                  </a:lnTo>
                  <a:lnTo>
                    <a:pt x="399" y="0"/>
                  </a:lnTo>
                  <a:lnTo>
                    <a:pt x="393" y="0"/>
                  </a:lnTo>
                  <a:lnTo>
                    <a:pt x="386" y="0"/>
                  </a:lnTo>
                  <a:lnTo>
                    <a:pt x="378" y="2"/>
                  </a:lnTo>
                  <a:lnTo>
                    <a:pt x="372" y="4"/>
                  </a:lnTo>
                  <a:lnTo>
                    <a:pt x="365" y="8"/>
                  </a:lnTo>
                  <a:lnTo>
                    <a:pt x="359" y="9"/>
                  </a:lnTo>
                  <a:lnTo>
                    <a:pt x="351" y="13"/>
                  </a:lnTo>
                  <a:lnTo>
                    <a:pt x="346" y="17"/>
                  </a:lnTo>
                  <a:lnTo>
                    <a:pt x="340" y="21"/>
                  </a:lnTo>
                  <a:lnTo>
                    <a:pt x="332" y="25"/>
                  </a:lnTo>
                  <a:lnTo>
                    <a:pt x="327" y="29"/>
                  </a:lnTo>
                  <a:lnTo>
                    <a:pt x="321" y="32"/>
                  </a:lnTo>
                  <a:lnTo>
                    <a:pt x="313" y="36"/>
                  </a:lnTo>
                  <a:lnTo>
                    <a:pt x="308" y="40"/>
                  </a:lnTo>
                  <a:lnTo>
                    <a:pt x="302" y="44"/>
                  </a:lnTo>
                  <a:lnTo>
                    <a:pt x="296" y="46"/>
                  </a:lnTo>
                  <a:lnTo>
                    <a:pt x="296" y="46"/>
                  </a:lnTo>
                  <a:lnTo>
                    <a:pt x="294" y="48"/>
                  </a:lnTo>
                  <a:lnTo>
                    <a:pt x="292" y="51"/>
                  </a:lnTo>
                  <a:lnTo>
                    <a:pt x="290" y="53"/>
                  </a:lnTo>
                  <a:lnTo>
                    <a:pt x="288" y="57"/>
                  </a:lnTo>
                  <a:lnTo>
                    <a:pt x="285" y="61"/>
                  </a:lnTo>
                  <a:lnTo>
                    <a:pt x="283" y="65"/>
                  </a:lnTo>
                  <a:lnTo>
                    <a:pt x="279" y="67"/>
                  </a:lnTo>
                  <a:lnTo>
                    <a:pt x="275" y="69"/>
                  </a:lnTo>
                  <a:lnTo>
                    <a:pt x="275" y="69"/>
                  </a:lnTo>
                  <a:lnTo>
                    <a:pt x="273" y="67"/>
                  </a:lnTo>
                  <a:lnTo>
                    <a:pt x="269" y="67"/>
                  </a:lnTo>
                  <a:lnTo>
                    <a:pt x="267" y="65"/>
                  </a:lnTo>
                  <a:lnTo>
                    <a:pt x="266" y="63"/>
                  </a:lnTo>
                  <a:lnTo>
                    <a:pt x="264" y="61"/>
                  </a:lnTo>
                  <a:lnTo>
                    <a:pt x="260" y="59"/>
                  </a:lnTo>
                  <a:lnTo>
                    <a:pt x="258" y="59"/>
                  </a:lnTo>
                  <a:lnTo>
                    <a:pt x="254" y="59"/>
                  </a:lnTo>
                  <a:lnTo>
                    <a:pt x="254" y="59"/>
                  </a:lnTo>
                  <a:lnTo>
                    <a:pt x="246" y="59"/>
                  </a:lnTo>
                  <a:lnTo>
                    <a:pt x="239" y="65"/>
                  </a:lnTo>
                  <a:lnTo>
                    <a:pt x="233" y="70"/>
                  </a:lnTo>
                  <a:lnTo>
                    <a:pt x="227" y="80"/>
                  </a:lnTo>
                  <a:lnTo>
                    <a:pt x="224" y="88"/>
                  </a:lnTo>
                  <a:lnTo>
                    <a:pt x="220" y="95"/>
                  </a:lnTo>
                  <a:lnTo>
                    <a:pt x="214" y="101"/>
                  </a:lnTo>
                  <a:lnTo>
                    <a:pt x="206" y="105"/>
                  </a:lnTo>
                  <a:lnTo>
                    <a:pt x="206" y="105"/>
                  </a:lnTo>
                  <a:lnTo>
                    <a:pt x="205" y="105"/>
                  </a:lnTo>
                  <a:lnTo>
                    <a:pt x="201" y="105"/>
                  </a:lnTo>
                  <a:lnTo>
                    <a:pt x="197" y="105"/>
                  </a:lnTo>
                  <a:lnTo>
                    <a:pt x="191" y="105"/>
                  </a:lnTo>
                  <a:lnTo>
                    <a:pt x="187" y="107"/>
                  </a:lnTo>
                  <a:lnTo>
                    <a:pt x="184" y="109"/>
                  </a:lnTo>
                  <a:lnTo>
                    <a:pt x="182" y="111"/>
                  </a:lnTo>
                  <a:lnTo>
                    <a:pt x="182" y="114"/>
                  </a:lnTo>
                  <a:lnTo>
                    <a:pt x="182" y="114"/>
                  </a:lnTo>
                  <a:lnTo>
                    <a:pt x="182" y="118"/>
                  </a:lnTo>
                  <a:lnTo>
                    <a:pt x="182" y="124"/>
                  </a:lnTo>
                  <a:lnTo>
                    <a:pt x="180" y="128"/>
                  </a:lnTo>
                  <a:lnTo>
                    <a:pt x="180" y="132"/>
                  </a:lnTo>
                  <a:lnTo>
                    <a:pt x="176" y="135"/>
                  </a:lnTo>
                  <a:lnTo>
                    <a:pt x="174" y="137"/>
                  </a:lnTo>
                  <a:lnTo>
                    <a:pt x="168" y="139"/>
                  </a:lnTo>
                  <a:lnTo>
                    <a:pt x="163" y="141"/>
                  </a:lnTo>
                  <a:lnTo>
                    <a:pt x="163" y="141"/>
                  </a:lnTo>
                  <a:lnTo>
                    <a:pt x="159" y="139"/>
                  </a:lnTo>
                  <a:lnTo>
                    <a:pt x="155" y="137"/>
                  </a:lnTo>
                  <a:lnTo>
                    <a:pt x="151" y="135"/>
                  </a:lnTo>
                  <a:lnTo>
                    <a:pt x="147" y="132"/>
                  </a:lnTo>
                  <a:lnTo>
                    <a:pt x="143" y="130"/>
                  </a:lnTo>
                  <a:lnTo>
                    <a:pt x="140" y="126"/>
                  </a:lnTo>
                  <a:lnTo>
                    <a:pt x="136" y="124"/>
                  </a:lnTo>
                  <a:lnTo>
                    <a:pt x="130" y="124"/>
                  </a:lnTo>
                  <a:lnTo>
                    <a:pt x="130" y="124"/>
                  </a:lnTo>
                  <a:lnTo>
                    <a:pt x="126" y="124"/>
                  </a:lnTo>
                  <a:lnTo>
                    <a:pt x="121" y="126"/>
                  </a:lnTo>
                  <a:lnTo>
                    <a:pt x="117" y="130"/>
                  </a:lnTo>
                  <a:lnTo>
                    <a:pt x="111" y="132"/>
                  </a:lnTo>
                  <a:lnTo>
                    <a:pt x="107" y="135"/>
                  </a:lnTo>
                  <a:lnTo>
                    <a:pt x="103" y="139"/>
                  </a:lnTo>
                  <a:lnTo>
                    <a:pt x="102" y="143"/>
                  </a:lnTo>
                  <a:lnTo>
                    <a:pt x="102" y="147"/>
                  </a:lnTo>
                  <a:lnTo>
                    <a:pt x="102" y="147"/>
                  </a:lnTo>
                  <a:lnTo>
                    <a:pt x="102" y="149"/>
                  </a:lnTo>
                  <a:lnTo>
                    <a:pt x="102" y="151"/>
                  </a:lnTo>
                  <a:lnTo>
                    <a:pt x="103" y="153"/>
                  </a:lnTo>
                  <a:lnTo>
                    <a:pt x="103" y="154"/>
                  </a:lnTo>
                  <a:lnTo>
                    <a:pt x="105" y="156"/>
                  </a:lnTo>
                  <a:lnTo>
                    <a:pt x="107" y="158"/>
                  </a:lnTo>
                  <a:lnTo>
                    <a:pt x="109" y="160"/>
                  </a:lnTo>
                  <a:lnTo>
                    <a:pt x="111" y="162"/>
                  </a:lnTo>
                  <a:lnTo>
                    <a:pt x="75" y="229"/>
                  </a:lnTo>
                  <a:lnTo>
                    <a:pt x="75" y="229"/>
                  </a:lnTo>
                  <a:lnTo>
                    <a:pt x="67" y="233"/>
                  </a:lnTo>
                  <a:lnTo>
                    <a:pt x="58" y="233"/>
                  </a:lnTo>
                  <a:lnTo>
                    <a:pt x="50" y="235"/>
                  </a:lnTo>
                  <a:lnTo>
                    <a:pt x="42" y="236"/>
                  </a:lnTo>
                  <a:lnTo>
                    <a:pt x="35" y="238"/>
                  </a:lnTo>
                  <a:lnTo>
                    <a:pt x="29" y="242"/>
                  </a:lnTo>
                  <a:lnTo>
                    <a:pt x="25" y="246"/>
                  </a:lnTo>
                  <a:lnTo>
                    <a:pt x="23" y="254"/>
                  </a:lnTo>
                  <a:lnTo>
                    <a:pt x="23" y="254"/>
                  </a:lnTo>
                  <a:lnTo>
                    <a:pt x="23" y="254"/>
                  </a:lnTo>
                  <a:lnTo>
                    <a:pt x="23" y="256"/>
                  </a:lnTo>
                  <a:lnTo>
                    <a:pt x="23" y="257"/>
                  </a:lnTo>
                  <a:lnTo>
                    <a:pt x="23" y="259"/>
                  </a:lnTo>
                  <a:lnTo>
                    <a:pt x="23" y="263"/>
                  </a:lnTo>
                  <a:lnTo>
                    <a:pt x="23" y="267"/>
                  </a:lnTo>
                  <a:lnTo>
                    <a:pt x="23" y="271"/>
                  </a:lnTo>
                  <a:lnTo>
                    <a:pt x="23" y="275"/>
                  </a:lnTo>
                  <a:lnTo>
                    <a:pt x="23" y="275"/>
                  </a:lnTo>
                  <a:lnTo>
                    <a:pt x="23" y="282"/>
                  </a:lnTo>
                  <a:lnTo>
                    <a:pt x="21" y="288"/>
                  </a:lnTo>
                  <a:lnTo>
                    <a:pt x="18" y="294"/>
                  </a:lnTo>
                  <a:lnTo>
                    <a:pt x="14" y="297"/>
                  </a:lnTo>
                  <a:lnTo>
                    <a:pt x="10" y="301"/>
                  </a:lnTo>
                  <a:lnTo>
                    <a:pt x="6" y="307"/>
                  </a:lnTo>
                  <a:lnTo>
                    <a:pt x="2" y="313"/>
                  </a:lnTo>
                  <a:lnTo>
                    <a:pt x="0" y="318"/>
                  </a:lnTo>
                  <a:lnTo>
                    <a:pt x="0" y="318"/>
                  </a:lnTo>
                  <a:lnTo>
                    <a:pt x="0" y="324"/>
                  </a:lnTo>
                  <a:lnTo>
                    <a:pt x="0" y="328"/>
                  </a:lnTo>
                  <a:lnTo>
                    <a:pt x="2" y="334"/>
                  </a:lnTo>
                  <a:lnTo>
                    <a:pt x="2" y="338"/>
                  </a:lnTo>
                  <a:lnTo>
                    <a:pt x="4" y="341"/>
                  </a:lnTo>
                  <a:lnTo>
                    <a:pt x="4" y="347"/>
                  </a:lnTo>
                  <a:lnTo>
                    <a:pt x="4" y="353"/>
                  </a:lnTo>
                  <a:lnTo>
                    <a:pt x="4" y="360"/>
                  </a:lnTo>
                  <a:lnTo>
                    <a:pt x="4" y="360"/>
                  </a:lnTo>
                  <a:lnTo>
                    <a:pt x="12" y="360"/>
                  </a:lnTo>
                  <a:lnTo>
                    <a:pt x="18" y="362"/>
                  </a:lnTo>
                  <a:lnTo>
                    <a:pt x="23" y="364"/>
                  </a:lnTo>
                  <a:lnTo>
                    <a:pt x="27" y="368"/>
                  </a:lnTo>
                  <a:lnTo>
                    <a:pt x="31" y="374"/>
                  </a:lnTo>
                  <a:lnTo>
                    <a:pt x="35" y="378"/>
                  </a:lnTo>
                  <a:lnTo>
                    <a:pt x="39" y="383"/>
                  </a:lnTo>
                  <a:lnTo>
                    <a:pt x="42" y="387"/>
                  </a:lnTo>
                  <a:lnTo>
                    <a:pt x="46" y="393"/>
                  </a:lnTo>
                  <a:lnTo>
                    <a:pt x="48" y="399"/>
                  </a:lnTo>
                  <a:lnTo>
                    <a:pt x="52" y="402"/>
                  </a:lnTo>
                  <a:lnTo>
                    <a:pt x="58" y="408"/>
                  </a:lnTo>
                  <a:lnTo>
                    <a:pt x="61" y="410"/>
                  </a:lnTo>
                  <a:lnTo>
                    <a:pt x="67" y="414"/>
                  </a:lnTo>
                  <a:lnTo>
                    <a:pt x="75" y="416"/>
                  </a:lnTo>
                  <a:lnTo>
                    <a:pt x="82" y="416"/>
                  </a:lnTo>
                  <a:lnTo>
                    <a:pt x="82" y="416"/>
                  </a:lnTo>
                  <a:lnTo>
                    <a:pt x="94" y="416"/>
                  </a:lnTo>
                  <a:lnTo>
                    <a:pt x="102" y="414"/>
                  </a:lnTo>
                  <a:lnTo>
                    <a:pt x="109" y="412"/>
                  </a:lnTo>
                  <a:lnTo>
                    <a:pt x="117" y="408"/>
                  </a:lnTo>
                  <a:lnTo>
                    <a:pt x="122" y="406"/>
                  </a:lnTo>
                  <a:lnTo>
                    <a:pt x="130" y="404"/>
                  </a:lnTo>
                  <a:lnTo>
                    <a:pt x="138" y="402"/>
                  </a:lnTo>
                  <a:lnTo>
                    <a:pt x="145" y="401"/>
                  </a:lnTo>
                  <a:lnTo>
                    <a:pt x="145" y="401"/>
                  </a:lnTo>
                  <a:lnTo>
                    <a:pt x="157" y="402"/>
                  </a:lnTo>
                  <a:lnTo>
                    <a:pt x="168" y="406"/>
                  </a:lnTo>
                  <a:lnTo>
                    <a:pt x="176" y="410"/>
                  </a:lnTo>
                  <a:lnTo>
                    <a:pt x="182" y="416"/>
                  </a:lnTo>
                  <a:lnTo>
                    <a:pt x="187" y="423"/>
                  </a:lnTo>
                  <a:lnTo>
                    <a:pt x="193" y="429"/>
                  </a:lnTo>
                  <a:lnTo>
                    <a:pt x="199" y="437"/>
                  </a:lnTo>
                  <a:lnTo>
                    <a:pt x="205" y="442"/>
                  </a:lnTo>
                  <a:lnTo>
                    <a:pt x="205" y="442"/>
                  </a:lnTo>
                  <a:lnTo>
                    <a:pt x="205" y="441"/>
                  </a:lnTo>
                  <a:lnTo>
                    <a:pt x="205" y="437"/>
                  </a:lnTo>
                  <a:lnTo>
                    <a:pt x="203" y="433"/>
                  </a:lnTo>
                  <a:lnTo>
                    <a:pt x="203" y="431"/>
                  </a:lnTo>
                  <a:lnTo>
                    <a:pt x="203" y="427"/>
                  </a:lnTo>
                  <a:lnTo>
                    <a:pt x="203" y="425"/>
                  </a:lnTo>
                  <a:lnTo>
                    <a:pt x="201" y="421"/>
                  </a:lnTo>
                  <a:lnTo>
                    <a:pt x="201" y="420"/>
                  </a:lnTo>
                  <a:lnTo>
                    <a:pt x="201" y="420"/>
                  </a:lnTo>
                  <a:lnTo>
                    <a:pt x="201" y="414"/>
                  </a:lnTo>
                  <a:lnTo>
                    <a:pt x="201" y="408"/>
                  </a:lnTo>
                  <a:lnTo>
                    <a:pt x="201" y="402"/>
                  </a:lnTo>
                  <a:lnTo>
                    <a:pt x="201" y="399"/>
                  </a:lnTo>
                  <a:lnTo>
                    <a:pt x="201" y="395"/>
                  </a:lnTo>
                  <a:lnTo>
                    <a:pt x="201" y="391"/>
                  </a:lnTo>
                  <a:lnTo>
                    <a:pt x="201" y="387"/>
                  </a:lnTo>
                  <a:lnTo>
                    <a:pt x="201" y="385"/>
                  </a:lnTo>
                  <a:lnTo>
                    <a:pt x="201" y="381"/>
                  </a:lnTo>
                  <a:lnTo>
                    <a:pt x="201" y="378"/>
                  </a:lnTo>
                  <a:lnTo>
                    <a:pt x="201" y="374"/>
                  </a:lnTo>
                  <a:lnTo>
                    <a:pt x="201" y="370"/>
                  </a:lnTo>
                  <a:lnTo>
                    <a:pt x="201" y="366"/>
                  </a:lnTo>
                  <a:lnTo>
                    <a:pt x="201" y="362"/>
                  </a:lnTo>
                  <a:lnTo>
                    <a:pt x="201" y="357"/>
                  </a:lnTo>
                  <a:lnTo>
                    <a:pt x="201" y="351"/>
                  </a:lnTo>
                  <a:lnTo>
                    <a:pt x="201" y="351"/>
                  </a:lnTo>
                  <a:lnTo>
                    <a:pt x="203" y="343"/>
                  </a:lnTo>
                  <a:lnTo>
                    <a:pt x="205" y="338"/>
                  </a:lnTo>
                  <a:lnTo>
                    <a:pt x="206" y="332"/>
                  </a:lnTo>
                  <a:lnTo>
                    <a:pt x="210" y="326"/>
                  </a:lnTo>
                  <a:lnTo>
                    <a:pt x="214" y="322"/>
                  </a:lnTo>
                  <a:lnTo>
                    <a:pt x="220" y="320"/>
                  </a:lnTo>
                  <a:lnTo>
                    <a:pt x="225" y="317"/>
                  </a:lnTo>
                  <a:lnTo>
                    <a:pt x="231" y="317"/>
                  </a:lnTo>
                  <a:lnTo>
                    <a:pt x="330" y="330"/>
                  </a:lnTo>
                  <a:lnTo>
                    <a:pt x="330" y="330"/>
                  </a:lnTo>
                  <a:lnTo>
                    <a:pt x="342" y="330"/>
                  </a:lnTo>
                  <a:lnTo>
                    <a:pt x="351" y="330"/>
                  </a:lnTo>
                  <a:lnTo>
                    <a:pt x="359" y="332"/>
                  </a:lnTo>
                  <a:lnTo>
                    <a:pt x="365" y="332"/>
                  </a:lnTo>
                  <a:lnTo>
                    <a:pt x="372" y="334"/>
                  </a:lnTo>
                  <a:lnTo>
                    <a:pt x="378" y="336"/>
                  </a:lnTo>
                  <a:lnTo>
                    <a:pt x="384" y="336"/>
                  </a:lnTo>
                  <a:lnTo>
                    <a:pt x="390" y="336"/>
                  </a:lnTo>
                  <a:lnTo>
                    <a:pt x="390" y="336"/>
                  </a:lnTo>
                  <a:lnTo>
                    <a:pt x="391" y="336"/>
                  </a:lnTo>
                  <a:lnTo>
                    <a:pt x="395" y="332"/>
                  </a:lnTo>
                  <a:lnTo>
                    <a:pt x="399" y="330"/>
                  </a:lnTo>
                  <a:lnTo>
                    <a:pt x="403" y="326"/>
                  </a:lnTo>
                  <a:lnTo>
                    <a:pt x="409" y="324"/>
                  </a:lnTo>
                  <a:lnTo>
                    <a:pt x="414" y="322"/>
                  </a:lnTo>
                  <a:lnTo>
                    <a:pt x="422" y="324"/>
                  </a:lnTo>
                  <a:lnTo>
                    <a:pt x="430" y="330"/>
                  </a:lnTo>
                  <a:lnTo>
                    <a:pt x="426" y="328"/>
                  </a:lnTo>
                  <a:lnTo>
                    <a:pt x="426" y="328"/>
                  </a:lnTo>
                  <a:lnTo>
                    <a:pt x="428" y="324"/>
                  </a:lnTo>
                  <a:lnTo>
                    <a:pt x="432" y="320"/>
                  </a:lnTo>
                  <a:lnTo>
                    <a:pt x="433" y="318"/>
                  </a:lnTo>
                  <a:lnTo>
                    <a:pt x="437" y="318"/>
                  </a:lnTo>
                  <a:lnTo>
                    <a:pt x="437" y="318"/>
                  </a:lnTo>
                  <a:lnTo>
                    <a:pt x="445" y="318"/>
                  </a:lnTo>
                  <a:lnTo>
                    <a:pt x="452" y="320"/>
                  </a:lnTo>
                  <a:lnTo>
                    <a:pt x="458" y="324"/>
                  </a:lnTo>
                  <a:lnTo>
                    <a:pt x="464" y="326"/>
                  </a:lnTo>
                  <a:lnTo>
                    <a:pt x="472" y="330"/>
                  </a:lnTo>
                  <a:lnTo>
                    <a:pt x="477" y="334"/>
                  </a:lnTo>
                  <a:lnTo>
                    <a:pt x="485" y="336"/>
                  </a:lnTo>
                  <a:lnTo>
                    <a:pt x="494" y="336"/>
                  </a:lnTo>
                  <a:lnTo>
                    <a:pt x="494" y="336"/>
                  </a:lnTo>
                  <a:lnTo>
                    <a:pt x="496" y="330"/>
                  </a:lnTo>
                  <a:lnTo>
                    <a:pt x="498" y="326"/>
                  </a:lnTo>
                  <a:lnTo>
                    <a:pt x="502" y="322"/>
                  </a:lnTo>
                  <a:lnTo>
                    <a:pt x="506" y="317"/>
                  </a:lnTo>
                  <a:lnTo>
                    <a:pt x="510" y="315"/>
                  </a:lnTo>
                  <a:lnTo>
                    <a:pt x="514" y="311"/>
                  </a:lnTo>
                  <a:lnTo>
                    <a:pt x="517" y="307"/>
                  </a:lnTo>
                  <a:lnTo>
                    <a:pt x="523" y="305"/>
                  </a:lnTo>
                  <a:lnTo>
                    <a:pt x="527" y="301"/>
                  </a:lnTo>
                  <a:lnTo>
                    <a:pt x="533" y="299"/>
                  </a:lnTo>
                  <a:lnTo>
                    <a:pt x="536" y="297"/>
                  </a:lnTo>
                  <a:lnTo>
                    <a:pt x="542" y="297"/>
                  </a:lnTo>
                  <a:lnTo>
                    <a:pt x="548" y="296"/>
                  </a:lnTo>
                  <a:lnTo>
                    <a:pt x="554" y="296"/>
                  </a:lnTo>
                  <a:lnTo>
                    <a:pt x="559" y="296"/>
                  </a:lnTo>
                  <a:lnTo>
                    <a:pt x="565" y="296"/>
                  </a:lnTo>
                  <a:lnTo>
                    <a:pt x="565" y="296"/>
                  </a:lnTo>
                  <a:lnTo>
                    <a:pt x="576" y="294"/>
                  </a:lnTo>
                  <a:lnTo>
                    <a:pt x="586" y="290"/>
                  </a:lnTo>
                  <a:lnTo>
                    <a:pt x="594" y="284"/>
                  </a:lnTo>
                  <a:lnTo>
                    <a:pt x="599" y="278"/>
                  </a:lnTo>
                  <a:lnTo>
                    <a:pt x="603" y="271"/>
                  </a:lnTo>
                  <a:lnTo>
                    <a:pt x="607" y="263"/>
                  </a:lnTo>
                  <a:lnTo>
                    <a:pt x="609" y="254"/>
                  </a:lnTo>
                  <a:lnTo>
                    <a:pt x="609" y="246"/>
                  </a:lnTo>
                  <a:lnTo>
                    <a:pt x="609" y="246"/>
                  </a:lnTo>
                  <a:lnTo>
                    <a:pt x="609" y="244"/>
                  </a:lnTo>
                  <a:lnTo>
                    <a:pt x="611" y="242"/>
                  </a:lnTo>
                  <a:lnTo>
                    <a:pt x="615" y="238"/>
                  </a:lnTo>
                  <a:lnTo>
                    <a:pt x="618" y="236"/>
                  </a:lnTo>
                  <a:lnTo>
                    <a:pt x="609" y="248"/>
                  </a:lnTo>
                </a:path>
              </a:pathLst>
            </a:custGeom>
            <a:solidFill>
              <a:srgbClr val="FF0000"/>
            </a:solidFill>
            <a:ln w="9525" cmpd="sng">
              <a:solidFill>
                <a:schemeClr val="folHlink"/>
              </a:solidFill>
              <a:prstDash val="solid"/>
              <a:round/>
              <a:headEnd/>
              <a:tailEnd/>
            </a:ln>
          </p:spPr>
          <p:txBody>
            <a:bodyPr/>
            <a:lstStyle/>
            <a:p>
              <a:endParaRPr lang="en-US"/>
            </a:p>
          </p:txBody>
        </p:sp>
        <p:sp>
          <p:nvSpPr>
            <p:cNvPr id="105" name="Freeform 48"/>
            <p:cNvSpPr>
              <a:spLocks/>
            </p:cNvSpPr>
            <p:nvPr/>
          </p:nvSpPr>
          <p:spPr bwMode="gray">
            <a:xfrm>
              <a:off x="1940" y="1499"/>
              <a:ext cx="484" cy="434"/>
            </a:xfrm>
            <a:custGeom>
              <a:avLst/>
              <a:gdLst/>
              <a:ahLst/>
              <a:cxnLst>
                <a:cxn ang="0">
                  <a:pos x="910" y="813"/>
                </a:cxn>
                <a:cxn ang="0">
                  <a:pos x="852" y="826"/>
                </a:cxn>
                <a:cxn ang="0">
                  <a:pos x="797" y="859"/>
                </a:cxn>
                <a:cxn ang="0">
                  <a:pos x="776" y="882"/>
                </a:cxn>
                <a:cxn ang="0">
                  <a:pos x="755" y="872"/>
                </a:cxn>
                <a:cxn ang="0">
                  <a:pos x="707" y="918"/>
                </a:cxn>
                <a:cxn ang="0">
                  <a:pos x="683" y="927"/>
                </a:cxn>
                <a:cxn ang="0">
                  <a:pos x="664" y="954"/>
                </a:cxn>
                <a:cxn ang="0">
                  <a:pos x="631" y="937"/>
                </a:cxn>
                <a:cxn ang="0">
                  <a:pos x="603" y="960"/>
                </a:cxn>
                <a:cxn ang="0">
                  <a:pos x="612" y="975"/>
                </a:cxn>
                <a:cxn ang="0">
                  <a:pos x="526" y="1059"/>
                </a:cxn>
                <a:cxn ang="0">
                  <a:pos x="524" y="1084"/>
                </a:cxn>
                <a:cxn ang="0">
                  <a:pos x="503" y="1126"/>
                </a:cxn>
                <a:cxn ang="0">
                  <a:pos x="505" y="1166"/>
                </a:cxn>
                <a:cxn ang="0">
                  <a:pos x="463" y="1189"/>
                </a:cxn>
                <a:cxn ang="0">
                  <a:pos x="444" y="1160"/>
                </a:cxn>
                <a:cxn ang="0">
                  <a:pos x="414" y="1156"/>
                </a:cxn>
                <a:cxn ang="0">
                  <a:pos x="385" y="1187"/>
                </a:cxn>
                <a:cxn ang="0">
                  <a:pos x="343" y="1173"/>
                </a:cxn>
                <a:cxn ang="0">
                  <a:pos x="313" y="1183"/>
                </a:cxn>
                <a:cxn ang="0">
                  <a:pos x="295" y="1152"/>
                </a:cxn>
                <a:cxn ang="0">
                  <a:pos x="265" y="1116"/>
                </a:cxn>
                <a:cxn ang="0">
                  <a:pos x="280" y="1099"/>
                </a:cxn>
                <a:cxn ang="0">
                  <a:pos x="257" y="1048"/>
                </a:cxn>
                <a:cxn ang="0">
                  <a:pos x="231" y="996"/>
                </a:cxn>
                <a:cxn ang="0">
                  <a:pos x="181" y="1030"/>
                </a:cxn>
                <a:cxn ang="0">
                  <a:pos x="147" y="1017"/>
                </a:cxn>
                <a:cxn ang="0">
                  <a:pos x="122" y="1034"/>
                </a:cxn>
                <a:cxn ang="0">
                  <a:pos x="93" y="1013"/>
                </a:cxn>
                <a:cxn ang="0">
                  <a:pos x="70" y="1023"/>
                </a:cxn>
                <a:cxn ang="0">
                  <a:pos x="57" y="1007"/>
                </a:cxn>
                <a:cxn ang="0">
                  <a:pos x="57" y="994"/>
                </a:cxn>
                <a:cxn ang="0">
                  <a:pos x="65" y="960"/>
                </a:cxn>
                <a:cxn ang="0">
                  <a:pos x="36" y="918"/>
                </a:cxn>
                <a:cxn ang="0">
                  <a:pos x="19" y="887"/>
                </a:cxn>
                <a:cxn ang="0">
                  <a:pos x="26" y="853"/>
                </a:cxn>
                <a:cxn ang="0">
                  <a:pos x="9" y="826"/>
                </a:cxn>
                <a:cxn ang="0">
                  <a:pos x="0" y="800"/>
                </a:cxn>
                <a:cxn ang="0">
                  <a:pos x="47" y="780"/>
                </a:cxn>
                <a:cxn ang="0">
                  <a:pos x="80" y="729"/>
                </a:cxn>
                <a:cxn ang="0">
                  <a:pos x="122" y="769"/>
                </a:cxn>
                <a:cxn ang="0">
                  <a:pos x="147" y="750"/>
                </a:cxn>
                <a:cxn ang="0">
                  <a:pos x="194" y="759"/>
                </a:cxn>
                <a:cxn ang="0">
                  <a:pos x="236" y="738"/>
                </a:cxn>
                <a:cxn ang="0">
                  <a:pos x="528" y="765"/>
                </a:cxn>
                <a:cxn ang="0">
                  <a:pos x="1039" y="325"/>
                </a:cxn>
                <a:cxn ang="0">
                  <a:pos x="1068" y="349"/>
                </a:cxn>
                <a:cxn ang="0">
                  <a:pos x="1076" y="378"/>
                </a:cxn>
                <a:cxn ang="0">
                  <a:pos x="1102" y="399"/>
                </a:cxn>
                <a:cxn ang="0">
                  <a:pos x="1188" y="437"/>
                </a:cxn>
                <a:cxn ang="0">
                  <a:pos x="1211" y="489"/>
                </a:cxn>
                <a:cxn ang="0">
                  <a:pos x="1207" y="506"/>
                </a:cxn>
                <a:cxn ang="0">
                  <a:pos x="1283" y="519"/>
                </a:cxn>
                <a:cxn ang="0">
                  <a:pos x="1283" y="586"/>
                </a:cxn>
                <a:cxn ang="0">
                  <a:pos x="1285" y="677"/>
                </a:cxn>
                <a:cxn ang="0">
                  <a:pos x="1242" y="775"/>
                </a:cxn>
                <a:cxn ang="0">
                  <a:pos x="1047" y="807"/>
                </a:cxn>
                <a:cxn ang="0">
                  <a:pos x="1005" y="834"/>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solidFill>
              <a:srgbClr val="FF0000"/>
            </a:solidFill>
            <a:ln w="9525" cmpd="sng">
              <a:solidFill>
                <a:schemeClr val="folHlink"/>
              </a:solidFill>
              <a:prstDash val="solid"/>
              <a:round/>
              <a:headEnd/>
              <a:tailEnd/>
            </a:ln>
          </p:spPr>
          <p:txBody>
            <a:bodyPr/>
            <a:lstStyle/>
            <a:p>
              <a:endParaRPr lang="en-US"/>
            </a:p>
          </p:txBody>
        </p:sp>
        <p:sp>
          <p:nvSpPr>
            <p:cNvPr id="106" name="Freeform 49"/>
            <p:cNvSpPr>
              <a:spLocks/>
            </p:cNvSpPr>
            <p:nvPr/>
          </p:nvSpPr>
          <p:spPr bwMode="gray">
            <a:xfrm>
              <a:off x="2685" y="1560"/>
              <a:ext cx="310" cy="467"/>
            </a:xfrm>
            <a:custGeom>
              <a:avLst/>
              <a:gdLst/>
              <a:ahLst/>
              <a:cxnLst>
                <a:cxn ang="0">
                  <a:pos x="145" y="177"/>
                </a:cxn>
                <a:cxn ang="0">
                  <a:pos x="173" y="221"/>
                </a:cxn>
                <a:cxn ang="0">
                  <a:pos x="186" y="252"/>
                </a:cxn>
                <a:cxn ang="0">
                  <a:pos x="173" y="271"/>
                </a:cxn>
                <a:cxn ang="0">
                  <a:pos x="129" y="548"/>
                </a:cxn>
                <a:cxn ang="0">
                  <a:pos x="72" y="624"/>
                </a:cxn>
                <a:cxn ang="0">
                  <a:pos x="21" y="694"/>
                </a:cxn>
                <a:cxn ang="0">
                  <a:pos x="0" y="725"/>
                </a:cxn>
                <a:cxn ang="0">
                  <a:pos x="7" y="769"/>
                </a:cxn>
                <a:cxn ang="0">
                  <a:pos x="36" y="807"/>
                </a:cxn>
                <a:cxn ang="0">
                  <a:pos x="70" y="843"/>
                </a:cxn>
                <a:cxn ang="0">
                  <a:pos x="106" y="948"/>
                </a:cxn>
                <a:cxn ang="0">
                  <a:pos x="124" y="992"/>
                </a:cxn>
                <a:cxn ang="0">
                  <a:pos x="137" y="1042"/>
                </a:cxn>
                <a:cxn ang="0">
                  <a:pos x="120" y="1063"/>
                </a:cxn>
                <a:cxn ang="0">
                  <a:pos x="63" y="1068"/>
                </a:cxn>
                <a:cxn ang="0">
                  <a:pos x="42" y="1099"/>
                </a:cxn>
                <a:cxn ang="0">
                  <a:pos x="57" y="1139"/>
                </a:cxn>
                <a:cxn ang="0">
                  <a:pos x="89" y="1164"/>
                </a:cxn>
                <a:cxn ang="0">
                  <a:pos x="120" y="1194"/>
                </a:cxn>
                <a:cxn ang="0">
                  <a:pos x="146" y="1240"/>
                </a:cxn>
                <a:cxn ang="0">
                  <a:pos x="167" y="1280"/>
                </a:cxn>
                <a:cxn ang="0">
                  <a:pos x="204" y="1271"/>
                </a:cxn>
                <a:cxn ang="0">
                  <a:pos x="234" y="1259"/>
                </a:cxn>
                <a:cxn ang="0">
                  <a:pos x="249" y="1271"/>
                </a:cxn>
                <a:cxn ang="0">
                  <a:pos x="274" y="1271"/>
                </a:cxn>
                <a:cxn ang="0">
                  <a:pos x="299" y="1253"/>
                </a:cxn>
                <a:cxn ang="0">
                  <a:pos x="354" y="1246"/>
                </a:cxn>
                <a:cxn ang="0">
                  <a:pos x="406" y="1236"/>
                </a:cxn>
                <a:cxn ang="0">
                  <a:pos x="440" y="1200"/>
                </a:cxn>
                <a:cxn ang="0">
                  <a:pos x="448" y="1173"/>
                </a:cxn>
                <a:cxn ang="0">
                  <a:pos x="459" y="1164"/>
                </a:cxn>
                <a:cxn ang="0">
                  <a:pos x="543" y="1143"/>
                </a:cxn>
                <a:cxn ang="0">
                  <a:pos x="604" y="1095"/>
                </a:cxn>
                <a:cxn ang="0">
                  <a:pos x="652" y="1057"/>
                </a:cxn>
                <a:cxn ang="0">
                  <a:pos x="679" y="1017"/>
                </a:cxn>
                <a:cxn ang="0">
                  <a:pos x="717" y="1002"/>
                </a:cxn>
                <a:cxn ang="0">
                  <a:pos x="751" y="1015"/>
                </a:cxn>
                <a:cxn ang="0">
                  <a:pos x="743" y="1002"/>
                </a:cxn>
                <a:cxn ang="0">
                  <a:pos x="749" y="986"/>
                </a:cxn>
                <a:cxn ang="0">
                  <a:pos x="749" y="965"/>
                </a:cxn>
                <a:cxn ang="0">
                  <a:pos x="730" y="948"/>
                </a:cxn>
                <a:cxn ang="0">
                  <a:pos x="715" y="901"/>
                </a:cxn>
                <a:cxn ang="0">
                  <a:pos x="688" y="860"/>
                </a:cxn>
                <a:cxn ang="0">
                  <a:pos x="663" y="853"/>
                </a:cxn>
                <a:cxn ang="0">
                  <a:pos x="663" y="832"/>
                </a:cxn>
                <a:cxn ang="0">
                  <a:pos x="682" y="813"/>
                </a:cxn>
                <a:cxn ang="0">
                  <a:pos x="694" y="803"/>
                </a:cxn>
                <a:cxn ang="0">
                  <a:pos x="690" y="780"/>
                </a:cxn>
                <a:cxn ang="0">
                  <a:pos x="690" y="763"/>
                </a:cxn>
                <a:cxn ang="0">
                  <a:pos x="721" y="736"/>
                </a:cxn>
                <a:cxn ang="0">
                  <a:pos x="705" y="717"/>
                </a:cxn>
                <a:cxn ang="0">
                  <a:pos x="723" y="700"/>
                </a:cxn>
                <a:cxn ang="0">
                  <a:pos x="736" y="677"/>
                </a:cxn>
                <a:cxn ang="0">
                  <a:pos x="745" y="641"/>
                </a:cxn>
                <a:cxn ang="0">
                  <a:pos x="761" y="624"/>
                </a:cxn>
                <a:cxn ang="0">
                  <a:pos x="793" y="620"/>
                </a:cxn>
                <a:cxn ang="0">
                  <a:pos x="816" y="307"/>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solidFill>
              <a:srgbClr val="FF0000"/>
            </a:solidFill>
            <a:ln w="9525" cmpd="sng">
              <a:solidFill>
                <a:schemeClr val="folHlink"/>
              </a:solidFill>
              <a:prstDash val="solid"/>
              <a:round/>
              <a:headEnd/>
              <a:tailEnd/>
            </a:ln>
          </p:spPr>
          <p:txBody>
            <a:bodyPr/>
            <a:lstStyle/>
            <a:p>
              <a:endParaRPr lang="en-US"/>
            </a:p>
          </p:txBody>
        </p:sp>
        <p:sp>
          <p:nvSpPr>
            <p:cNvPr id="107" name="Freeform 50"/>
            <p:cNvSpPr>
              <a:spLocks/>
            </p:cNvSpPr>
            <p:nvPr/>
          </p:nvSpPr>
          <p:spPr bwMode="gray">
            <a:xfrm>
              <a:off x="2300" y="1561"/>
              <a:ext cx="455" cy="333"/>
            </a:xfrm>
            <a:custGeom>
              <a:avLst/>
              <a:gdLst/>
              <a:ahLst/>
              <a:cxnLst>
                <a:cxn ang="0">
                  <a:pos x="225" y="883"/>
                </a:cxn>
                <a:cxn ang="0">
                  <a:pos x="183" y="862"/>
                </a:cxn>
                <a:cxn ang="0">
                  <a:pos x="151" y="887"/>
                </a:cxn>
                <a:cxn ang="0">
                  <a:pos x="134" y="864"/>
                </a:cxn>
                <a:cxn ang="0">
                  <a:pos x="141" y="862"/>
                </a:cxn>
                <a:cxn ang="0">
                  <a:pos x="149" y="845"/>
                </a:cxn>
                <a:cxn ang="0">
                  <a:pos x="126" y="834"/>
                </a:cxn>
                <a:cxn ang="0">
                  <a:pos x="107" y="841"/>
                </a:cxn>
                <a:cxn ang="0">
                  <a:pos x="65" y="814"/>
                </a:cxn>
                <a:cxn ang="0">
                  <a:pos x="67" y="797"/>
                </a:cxn>
                <a:cxn ang="0">
                  <a:pos x="69" y="778"/>
                </a:cxn>
                <a:cxn ang="0">
                  <a:pos x="19" y="727"/>
                </a:cxn>
                <a:cxn ang="0">
                  <a:pos x="4" y="656"/>
                </a:cxn>
                <a:cxn ang="0">
                  <a:pos x="38" y="660"/>
                </a:cxn>
                <a:cxn ang="0">
                  <a:pos x="75" y="649"/>
                </a:cxn>
                <a:cxn ang="0">
                  <a:pos x="239" y="628"/>
                </a:cxn>
                <a:cxn ang="0">
                  <a:pos x="300" y="586"/>
                </a:cxn>
                <a:cxn ang="0">
                  <a:pos x="326" y="505"/>
                </a:cxn>
                <a:cxn ang="0">
                  <a:pos x="326" y="431"/>
                </a:cxn>
                <a:cxn ang="0">
                  <a:pos x="323" y="378"/>
                </a:cxn>
                <a:cxn ang="0">
                  <a:pos x="456" y="309"/>
                </a:cxn>
                <a:cxn ang="0">
                  <a:pos x="969" y="2"/>
                </a:cxn>
                <a:cxn ang="0">
                  <a:pos x="1013" y="15"/>
                </a:cxn>
                <a:cxn ang="0">
                  <a:pos x="1053" y="32"/>
                </a:cxn>
                <a:cxn ang="0">
                  <a:pos x="1095" y="65"/>
                </a:cxn>
                <a:cxn ang="0">
                  <a:pos x="1149" y="46"/>
                </a:cxn>
                <a:cxn ang="0">
                  <a:pos x="1170" y="173"/>
                </a:cxn>
                <a:cxn ang="0">
                  <a:pos x="1198" y="217"/>
                </a:cxn>
                <a:cxn ang="0">
                  <a:pos x="1211" y="248"/>
                </a:cxn>
                <a:cxn ang="0">
                  <a:pos x="1198" y="267"/>
                </a:cxn>
                <a:cxn ang="0">
                  <a:pos x="1154" y="544"/>
                </a:cxn>
                <a:cxn ang="0">
                  <a:pos x="1097" y="620"/>
                </a:cxn>
                <a:cxn ang="0">
                  <a:pos x="1046" y="690"/>
                </a:cxn>
                <a:cxn ang="0">
                  <a:pos x="1025" y="721"/>
                </a:cxn>
                <a:cxn ang="0">
                  <a:pos x="1032" y="757"/>
                </a:cxn>
                <a:cxn ang="0">
                  <a:pos x="1015" y="780"/>
                </a:cxn>
                <a:cxn ang="0">
                  <a:pos x="965" y="811"/>
                </a:cxn>
                <a:cxn ang="0">
                  <a:pos x="931" y="828"/>
                </a:cxn>
                <a:cxn ang="0">
                  <a:pos x="889" y="813"/>
                </a:cxn>
                <a:cxn ang="0">
                  <a:pos x="847" y="795"/>
                </a:cxn>
                <a:cxn ang="0">
                  <a:pos x="792" y="801"/>
                </a:cxn>
                <a:cxn ang="0">
                  <a:pos x="742" y="828"/>
                </a:cxn>
                <a:cxn ang="0">
                  <a:pos x="691" y="837"/>
                </a:cxn>
                <a:cxn ang="0">
                  <a:pos x="643" y="818"/>
                </a:cxn>
                <a:cxn ang="0">
                  <a:pos x="599" y="797"/>
                </a:cxn>
                <a:cxn ang="0">
                  <a:pos x="569" y="803"/>
                </a:cxn>
                <a:cxn ang="0">
                  <a:pos x="540" y="816"/>
                </a:cxn>
                <a:cxn ang="0">
                  <a:pos x="510" y="816"/>
                </a:cxn>
                <a:cxn ang="0">
                  <a:pos x="485" y="782"/>
                </a:cxn>
                <a:cxn ang="0">
                  <a:pos x="454" y="765"/>
                </a:cxn>
                <a:cxn ang="0">
                  <a:pos x="408" y="753"/>
                </a:cxn>
                <a:cxn ang="0">
                  <a:pos x="365" y="753"/>
                </a:cxn>
                <a:cxn ang="0">
                  <a:pos x="313" y="769"/>
                </a:cxn>
                <a:cxn ang="0">
                  <a:pos x="294" y="805"/>
                </a:cxn>
                <a:cxn ang="0">
                  <a:pos x="267" y="843"/>
                </a:cxn>
                <a:cxn ang="0">
                  <a:pos x="248" y="898"/>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solidFill>
              <a:srgbClr val="FFC000"/>
            </a:solidFill>
            <a:ln w="9525" cmpd="sng">
              <a:solidFill>
                <a:schemeClr val="folHlink"/>
              </a:solidFill>
              <a:prstDash val="solid"/>
              <a:round/>
              <a:headEnd/>
              <a:tailEnd/>
            </a:ln>
          </p:spPr>
          <p:txBody>
            <a:bodyPr/>
            <a:lstStyle/>
            <a:p>
              <a:endParaRPr lang="en-US"/>
            </a:p>
          </p:txBody>
        </p:sp>
        <p:sp>
          <p:nvSpPr>
            <p:cNvPr id="108" name="Freeform 51"/>
            <p:cNvSpPr>
              <a:spLocks/>
            </p:cNvSpPr>
            <p:nvPr/>
          </p:nvSpPr>
          <p:spPr bwMode="gray">
            <a:xfrm>
              <a:off x="2934" y="1557"/>
              <a:ext cx="473" cy="579"/>
            </a:xfrm>
            <a:custGeom>
              <a:avLst/>
              <a:gdLst/>
              <a:ahLst/>
              <a:cxnLst>
                <a:cxn ang="0">
                  <a:pos x="857" y="117"/>
                </a:cxn>
                <a:cxn ang="0">
                  <a:pos x="891" y="84"/>
                </a:cxn>
                <a:cxn ang="0">
                  <a:pos x="943" y="67"/>
                </a:cxn>
                <a:cxn ang="0">
                  <a:pos x="998" y="10"/>
                </a:cxn>
                <a:cxn ang="0">
                  <a:pos x="1061" y="40"/>
                </a:cxn>
                <a:cxn ang="0">
                  <a:pos x="1137" y="149"/>
                </a:cxn>
                <a:cxn ang="0">
                  <a:pos x="1156" y="268"/>
                </a:cxn>
                <a:cxn ang="0">
                  <a:pos x="1198" y="353"/>
                </a:cxn>
                <a:cxn ang="0">
                  <a:pos x="1259" y="392"/>
                </a:cxn>
                <a:cxn ang="0">
                  <a:pos x="1195" y="468"/>
                </a:cxn>
                <a:cxn ang="0">
                  <a:pos x="1149" y="537"/>
                </a:cxn>
                <a:cxn ang="0">
                  <a:pos x="1139" y="588"/>
                </a:cxn>
                <a:cxn ang="0">
                  <a:pos x="1126" y="653"/>
                </a:cxn>
                <a:cxn ang="0">
                  <a:pos x="1134" y="706"/>
                </a:cxn>
                <a:cxn ang="0">
                  <a:pos x="1116" y="773"/>
                </a:cxn>
                <a:cxn ang="0">
                  <a:pos x="1105" y="840"/>
                </a:cxn>
                <a:cxn ang="0">
                  <a:pos x="1069" y="867"/>
                </a:cxn>
                <a:cxn ang="0">
                  <a:pos x="1040" y="937"/>
                </a:cxn>
                <a:cxn ang="0">
                  <a:pos x="1006" y="998"/>
                </a:cxn>
                <a:cxn ang="0">
                  <a:pos x="987" y="1040"/>
                </a:cxn>
                <a:cxn ang="0">
                  <a:pos x="968" y="1113"/>
                </a:cxn>
                <a:cxn ang="0">
                  <a:pos x="958" y="1179"/>
                </a:cxn>
                <a:cxn ang="0">
                  <a:pos x="901" y="1208"/>
                </a:cxn>
                <a:cxn ang="0">
                  <a:pos x="893" y="1239"/>
                </a:cxn>
                <a:cxn ang="0">
                  <a:pos x="964" y="1265"/>
                </a:cxn>
                <a:cxn ang="0">
                  <a:pos x="1027" y="1332"/>
                </a:cxn>
                <a:cxn ang="0">
                  <a:pos x="1046" y="1391"/>
                </a:cxn>
                <a:cxn ang="0">
                  <a:pos x="1092" y="1422"/>
                </a:cxn>
                <a:cxn ang="0">
                  <a:pos x="1116" y="1475"/>
                </a:cxn>
                <a:cxn ang="0">
                  <a:pos x="992" y="1504"/>
                </a:cxn>
                <a:cxn ang="0">
                  <a:pos x="928" y="1561"/>
                </a:cxn>
                <a:cxn ang="0">
                  <a:pos x="893" y="1561"/>
                </a:cxn>
                <a:cxn ang="0">
                  <a:pos x="844" y="1576"/>
                </a:cxn>
                <a:cxn ang="0">
                  <a:pos x="783" y="1565"/>
                </a:cxn>
                <a:cxn ang="0">
                  <a:pos x="729" y="1584"/>
                </a:cxn>
                <a:cxn ang="0">
                  <a:pos x="701" y="1571"/>
                </a:cxn>
                <a:cxn ang="0">
                  <a:pos x="676" y="1559"/>
                </a:cxn>
                <a:cxn ang="0">
                  <a:pos x="611" y="1513"/>
                </a:cxn>
                <a:cxn ang="0">
                  <a:pos x="563" y="1519"/>
                </a:cxn>
                <a:cxn ang="0">
                  <a:pos x="519" y="1532"/>
                </a:cxn>
                <a:cxn ang="0">
                  <a:pos x="462" y="1483"/>
                </a:cxn>
                <a:cxn ang="0">
                  <a:pos x="435" y="1441"/>
                </a:cxn>
                <a:cxn ang="0">
                  <a:pos x="388" y="1401"/>
                </a:cxn>
                <a:cxn ang="0">
                  <a:pos x="355" y="1343"/>
                </a:cxn>
                <a:cxn ang="0">
                  <a:pos x="304" y="1303"/>
                </a:cxn>
                <a:cxn ang="0">
                  <a:pos x="269" y="1263"/>
                </a:cxn>
                <a:cxn ang="0">
                  <a:pos x="248" y="1233"/>
                </a:cxn>
                <a:cxn ang="0">
                  <a:pos x="189" y="1183"/>
                </a:cxn>
                <a:cxn ang="0">
                  <a:pos x="147" y="1181"/>
                </a:cxn>
                <a:cxn ang="0">
                  <a:pos x="142" y="1126"/>
                </a:cxn>
                <a:cxn ang="0">
                  <a:pos x="115" y="1054"/>
                </a:cxn>
                <a:cxn ang="0">
                  <a:pos x="86" y="998"/>
                </a:cxn>
                <a:cxn ang="0">
                  <a:pos x="75" y="962"/>
                </a:cxn>
                <a:cxn ang="0">
                  <a:pos x="50" y="895"/>
                </a:cxn>
                <a:cxn ang="0">
                  <a:pos x="2" y="861"/>
                </a:cxn>
                <a:cxn ang="0">
                  <a:pos x="20" y="823"/>
                </a:cxn>
                <a:cxn ang="0">
                  <a:pos x="33" y="806"/>
                </a:cxn>
                <a:cxn ang="0">
                  <a:pos x="37" y="767"/>
                </a:cxn>
                <a:cxn ang="0">
                  <a:pos x="46" y="729"/>
                </a:cxn>
                <a:cxn ang="0">
                  <a:pos x="69" y="699"/>
                </a:cxn>
                <a:cxn ang="0">
                  <a:pos x="86" y="640"/>
                </a:cxn>
                <a:cxn ang="0">
                  <a:pos x="132" y="628"/>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solidFill>
              <a:srgbClr val="FF0000"/>
            </a:solidFill>
            <a:ln w="9525" cmpd="sng">
              <a:solidFill>
                <a:schemeClr val="folHlink"/>
              </a:solidFill>
              <a:prstDash val="solid"/>
              <a:round/>
              <a:headEnd/>
              <a:tailEnd/>
            </a:ln>
          </p:spPr>
          <p:txBody>
            <a:bodyPr/>
            <a:lstStyle/>
            <a:p>
              <a:endParaRPr lang="en-US"/>
            </a:p>
          </p:txBody>
        </p:sp>
        <p:sp>
          <p:nvSpPr>
            <p:cNvPr id="109" name="Freeform 52"/>
            <p:cNvSpPr>
              <a:spLocks/>
            </p:cNvSpPr>
            <p:nvPr/>
          </p:nvSpPr>
          <p:spPr bwMode="gray">
            <a:xfrm>
              <a:off x="2581" y="1289"/>
              <a:ext cx="437" cy="383"/>
            </a:xfrm>
            <a:custGeom>
              <a:avLst/>
              <a:gdLst/>
              <a:ahLst/>
              <a:cxnLst>
                <a:cxn ang="0">
                  <a:pos x="1116" y="92"/>
                </a:cxn>
                <a:cxn ang="0">
                  <a:pos x="1087" y="88"/>
                </a:cxn>
                <a:cxn ang="0">
                  <a:pos x="1057" y="94"/>
                </a:cxn>
                <a:cxn ang="0">
                  <a:pos x="1001" y="94"/>
                </a:cxn>
                <a:cxn ang="0">
                  <a:pos x="967" y="63"/>
                </a:cxn>
                <a:cxn ang="0">
                  <a:pos x="935" y="44"/>
                </a:cxn>
                <a:cxn ang="0">
                  <a:pos x="895" y="31"/>
                </a:cxn>
                <a:cxn ang="0">
                  <a:pos x="853" y="27"/>
                </a:cxn>
                <a:cxn ang="0">
                  <a:pos x="793" y="46"/>
                </a:cxn>
                <a:cxn ang="0">
                  <a:pos x="757" y="88"/>
                </a:cxn>
                <a:cxn ang="0">
                  <a:pos x="776" y="135"/>
                </a:cxn>
                <a:cxn ang="0">
                  <a:pos x="776" y="177"/>
                </a:cxn>
                <a:cxn ang="0">
                  <a:pos x="717" y="212"/>
                </a:cxn>
                <a:cxn ang="0">
                  <a:pos x="666" y="197"/>
                </a:cxn>
                <a:cxn ang="0">
                  <a:pos x="622" y="174"/>
                </a:cxn>
                <a:cxn ang="0">
                  <a:pos x="587" y="156"/>
                </a:cxn>
                <a:cxn ang="0">
                  <a:pos x="553" y="145"/>
                </a:cxn>
                <a:cxn ang="0">
                  <a:pos x="509" y="143"/>
                </a:cxn>
                <a:cxn ang="0">
                  <a:pos x="479" y="135"/>
                </a:cxn>
                <a:cxn ang="0">
                  <a:pos x="450" y="97"/>
                </a:cxn>
                <a:cxn ang="0">
                  <a:pos x="441" y="61"/>
                </a:cxn>
                <a:cxn ang="0">
                  <a:pos x="410" y="38"/>
                </a:cxn>
                <a:cxn ang="0">
                  <a:pos x="345" y="17"/>
                </a:cxn>
                <a:cxn ang="0">
                  <a:pos x="303" y="11"/>
                </a:cxn>
                <a:cxn ang="0">
                  <a:pos x="263" y="29"/>
                </a:cxn>
                <a:cxn ang="0">
                  <a:pos x="227" y="23"/>
                </a:cxn>
                <a:cxn ang="0">
                  <a:pos x="194" y="6"/>
                </a:cxn>
                <a:cxn ang="0">
                  <a:pos x="175" y="17"/>
                </a:cxn>
                <a:cxn ang="0">
                  <a:pos x="173" y="44"/>
                </a:cxn>
                <a:cxn ang="0">
                  <a:pos x="118" y="78"/>
                </a:cxn>
                <a:cxn ang="0">
                  <a:pos x="78" y="118"/>
                </a:cxn>
                <a:cxn ang="0">
                  <a:pos x="76" y="145"/>
                </a:cxn>
                <a:cxn ang="0">
                  <a:pos x="80" y="172"/>
                </a:cxn>
                <a:cxn ang="0">
                  <a:pos x="51" y="204"/>
                </a:cxn>
                <a:cxn ang="0">
                  <a:pos x="13" y="221"/>
                </a:cxn>
                <a:cxn ang="0">
                  <a:pos x="32" y="261"/>
                </a:cxn>
                <a:cxn ang="0">
                  <a:pos x="44" y="307"/>
                </a:cxn>
                <a:cxn ang="0">
                  <a:pos x="44" y="349"/>
                </a:cxn>
                <a:cxn ang="0">
                  <a:pos x="44" y="380"/>
                </a:cxn>
                <a:cxn ang="0">
                  <a:pos x="44" y="410"/>
                </a:cxn>
                <a:cxn ang="0">
                  <a:pos x="32" y="443"/>
                </a:cxn>
                <a:cxn ang="0">
                  <a:pos x="42" y="473"/>
                </a:cxn>
                <a:cxn ang="0">
                  <a:pos x="19" y="504"/>
                </a:cxn>
                <a:cxn ang="0">
                  <a:pos x="2" y="532"/>
                </a:cxn>
                <a:cxn ang="0">
                  <a:pos x="27" y="582"/>
                </a:cxn>
                <a:cxn ang="0">
                  <a:pos x="53" y="626"/>
                </a:cxn>
                <a:cxn ang="0">
                  <a:pos x="61" y="649"/>
                </a:cxn>
                <a:cxn ang="0">
                  <a:pos x="76" y="656"/>
                </a:cxn>
                <a:cxn ang="0">
                  <a:pos x="103" y="656"/>
                </a:cxn>
                <a:cxn ang="0">
                  <a:pos x="149" y="677"/>
                </a:cxn>
                <a:cxn ang="0">
                  <a:pos x="162" y="710"/>
                </a:cxn>
                <a:cxn ang="0">
                  <a:pos x="183" y="736"/>
                </a:cxn>
                <a:cxn ang="0">
                  <a:pos x="219" y="750"/>
                </a:cxn>
                <a:cxn ang="0">
                  <a:pos x="263" y="763"/>
                </a:cxn>
                <a:cxn ang="0">
                  <a:pos x="303" y="780"/>
                </a:cxn>
                <a:cxn ang="0">
                  <a:pos x="345" y="813"/>
                </a:cxn>
                <a:cxn ang="0">
                  <a:pos x="399" y="794"/>
                </a:cxn>
                <a:cxn ang="0">
                  <a:pos x="1163" y="1015"/>
                </a:cxn>
                <a:cxn ang="0">
                  <a:pos x="1116" y="256"/>
                </a:cxn>
                <a:cxn ang="0">
                  <a:pos x="1110" y="210"/>
                </a:cxn>
                <a:cxn ang="0">
                  <a:pos x="1125" y="177"/>
                </a:cxn>
                <a:cxn ang="0">
                  <a:pos x="1108" y="141"/>
                </a:cxn>
                <a:cxn ang="0">
                  <a:pos x="1116" y="11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solidFill>
              <a:schemeClr val="accent3">
                <a:lumMod val="60000"/>
                <a:lumOff val="40000"/>
              </a:schemeClr>
            </a:solidFill>
            <a:ln w="9525" cmpd="sng">
              <a:solidFill>
                <a:schemeClr val="folHlink"/>
              </a:solidFill>
              <a:prstDash val="solid"/>
              <a:round/>
              <a:headEnd/>
              <a:tailEnd/>
            </a:ln>
          </p:spPr>
          <p:txBody>
            <a:bodyPr/>
            <a:lstStyle/>
            <a:p>
              <a:endParaRPr lang="en-US"/>
            </a:p>
          </p:txBody>
        </p:sp>
        <p:sp>
          <p:nvSpPr>
            <p:cNvPr id="110" name="Freeform 53"/>
            <p:cNvSpPr>
              <a:spLocks/>
            </p:cNvSpPr>
            <p:nvPr/>
          </p:nvSpPr>
          <p:spPr bwMode="gray">
            <a:xfrm>
              <a:off x="2650" y="2377"/>
              <a:ext cx="20" cy="33"/>
            </a:xfrm>
            <a:custGeom>
              <a:avLst/>
              <a:gdLst/>
              <a:ahLst/>
              <a:cxnLst>
                <a:cxn ang="0">
                  <a:pos x="0" y="88"/>
                </a:cxn>
                <a:cxn ang="0">
                  <a:pos x="8" y="86"/>
                </a:cxn>
                <a:cxn ang="0">
                  <a:pos x="12" y="81"/>
                </a:cxn>
                <a:cxn ang="0">
                  <a:pos x="15" y="75"/>
                </a:cxn>
                <a:cxn ang="0">
                  <a:pos x="15" y="65"/>
                </a:cxn>
                <a:cxn ang="0">
                  <a:pos x="15" y="56"/>
                </a:cxn>
                <a:cxn ang="0">
                  <a:pos x="15" y="46"/>
                </a:cxn>
                <a:cxn ang="0">
                  <a:pos x="15" y="37"/>
                </a:cxn>
                <a:cxn ang="0">
                  <a:pos x="17" y="29"/>
                </a:cxn>
                <a:cxn ang="0">
                  <a:pos x="21" y="23"/>
                </a:cxn>
                <a:cxn ang="0">
                  <a:pos x="25" y="20"/>
                </a:cxn>
                <a:cxn ang="0">
                  <a:pos x="29" y="16"/>
                </a:cxn>
                <a:cxn ang="0">
                  <a:pos x="34" y="14"/>
                </a:cxn>
                <a:cxn ang="0">
                  <a:pos x="38" y="10"/>
                </a:cxn>
                <a:cxn ang="0">
                  <a:pos x="44" y="8"/>
                </a:cxn>
                <a:cxn ang="0">
                  <a:pos x="48" y="4"/>
                </a:cxn>
                <a:cxn ang="0">
                  <a:pos x="52" y="0"/>
                </a:cxn>
                <a:cxn ang="0">
                  <a:pos x="0" y="88"/>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solidFill>
              <a:srgbClr val="FFFFCC"/>
            </a:solidFill>
            <a:ln w="9525" cmpd="sng">
              <a:solidFill>
                <a:schemeClr val="folHlink"/>
              </a:solidFill>
              <a:round/>
              <a:headEnd/>
              <a:tailEnd/>
            </a:ln>
          </p:spPr>
          <p:txBody>
            <a:bodyPr/>
            <a:lstStyle/>
            <a:p>
              <a:endParaRPr lang="en-US"/>
            </a:p>
          </p:txBody>
        </p:sp>
        <p:sp>
          <p:nvSpPr>
            <p:cNvPr id="111" name="Freeform 54"/>
            <p:cNvSpPr>
              <a:spLocks/>
            </p:cNvSpPr>
            <p:nvPr/>
          </p:nvSpPr>
          <p:spPr bwMode="gray">
            <a:xfrm>
              <a:off x="2650" y="2377"/>
              <a:ext cx="20" cy="33"/>
            </a:xfrm>
            <a:custGeom>
              <a:avLst/>
              <a:gdLst/>
              <a:ahLst/>
              <a:cxnLst>
                <a:cxn ang="0">
                  <a:pos x="0" y="88"/>
                </a:cxn>
                <a:cxn ang="0">
                  <a:pos x="0" y="88"/>
                </a:cxn>
                <a:cxn ang="0">
                  <a:pos x="8" y="86"/>
                </a:cxn>
                <a:cxn ang="0">
                  <a:pos x="12" y="81"/>
                </a:cxn>
                <a:cxn ang="0">
                  <a:pos x="15" y="75"/>
                </a:cxn>
                <a:cxn ang="0">
                  <a:pos x="15" y="65"/>
                </a:cxn>
                <a:cxn ang="0">
                  <a:pos x="15" y="56"/>
                </a:cxn>
                <a:cxn ang="0">
                  <a:pos x="15" y="46"/>
                </a:cxn>
                <a:cxn ang="0">
                  <a:pos x="15" y="37"/>
                </a:cxn>
                <a:cxn ang="0">
                  <a:pos x="17" y="29"/>
                </a:cxn>
                <a:cxn ang="0">
                  <a:pos x="17" y="29"/>
                </a:cxn>
                <a:cxn ang="0">
                  <a:pos x="21" y="23"/>
                </a:cxn>
                <a:cxn ang="0">
                  <a:pos x="25" y="20"/>
                </a:cxn>
                <a:cxn ang="0">
                  <a:pos x="29" y="16"/>
                </a:cxn>
                <a:cxn ang="0">
                  <a:pos x="34" y="14"/>
                </a:cxn>
                <a:cxn ang="0">
                  <a:pos x="38" y="10"/>
                </a:cxn>
                <a:cxn ang="0">
                  <a:pos x="44" y="8"/>
                </a:cxn>
                <a:cxn ang="0">
                  <a:pos x="48" y="4"/>
                </a:cxn>
                <a:cxn ang="0">
                  <a:pos x="52" y="0"/>
                </a:cxn>
              </a:cxnLst>
              <a:rect l="0" t="0" r="r" b="b"/>
              <a:pathLst>
                <a:path w="52" h="88">
                  <a:moveTo>
                    <a:pt x="0" y="88"/>
                  </a:moveTo>
                  <a:lnTo>
                    <a:pt x="0" y="88"/>
                  </a:lnTo>
                  <a:lnTo>
                    <a:pt x="8" y="86"/>
                  </a:lnTo>
                  <a:lnTo>
                    <a:pt x="12" y="81"/>
                  </a:lnTo>
                  <a:lnTo>
                    <a:pt x="15" y="75"/>
                  </a:lnTo>
                  <a:lnTo>
                    <a:pt x="15" y="65"/>
                  </a:lnTo>
                  <a:lnTo>
                    <a:pt x="15" y="56"/>
                  </a:lnTo>
                  <a:lnTo>
                    <a:pt x="15" y="46"/>
                  </a:lnTo>
                  <a:lnTo>
                    <a:pt x="15" y="37"/>
                  </a:lnTo>
                  <a:lnTo>
                    <a:pt x="17" y="29"/>
                  </a:lnTo>
                  <a:lnTo>
                    <a:pt x="17" y="29"/>
                  </a:lnTo>
                  <a:lnTo>
                    <a:pt x="21" y="23"/>
                  </a:lnTo>
                  <a:lnTo>
                    <a:pt x="25" y="20"/>
                  </a:lnTo>
                  <a:lnTo>
                    <a:pt x="29" y="16"/>
                  </a:lnTo>
                  <a:lnTo>
                    <a:pt x="34" y="14"/>
                  </a:lnTo>
                  <a:lnTo>
                    <a:pt x="38" y="10"/>
                  </a:lnTo>
                  <a:lnTo>
                    <a:pt x="44" y="8"/>
                  </a:lnTo>
                  <a:lnTo>
                    <a:pt x="48" y="4"/>
                  </a:lnTo>
                  <a:lnTo>
                    <a:pt x="52" y="0"/>
                  </a:lnTo>
                </a:path>
              </a:pathLst>
            </a:custGeom>
            <a:solidFill>
              <a:srgbClr val="FFFFCC"/>
            </a:solidFill>
            <a:ln w="9525" cmpd="sng">
              <a:solidFill>
                <a:schemeClr val="folHlink"/>
              </a:solidFill>
              <a:prstDash val="solid"/>
              <a:round/>
              <a:headEnd/>
              <a:tailEnd/>
            </a:ln>
          </p:spPr>
          <p:txBody>
            <a:bodyPr/>
            <a:lstStyle/>
            <a:p>
              <a:endParaRPr lang="en-US"/>
            </a:p>
          </p:txBody>
        </p:sp>
        <p:sp>
          <p:nvSpPr>
            <p:cNvPr id="112" name="Freeform 55"/>
            <p:cNvSpPr>
              <a:spLocks/>
            </p:cNvSpPr>
            <p:nvPr/>
          </p:nvSpPr>
          <p:spPr bwMode="gray">
            <a:xfrm>
              <a:off x="2648" y="1285"/>
              <a:ext cx="1" cy="4"/>
            </a:xfrm>
            <a:custGeom>
              <a:avLst/>
              <a:gdLst/>
              <a:ahLst/>
              <a:cxnLst>
                <a:cxn ang="0">
                  <a:pos x="0" y="0"/>
                </a:cxn>
                <a:cxn ang="0">
                  <a:pos x="0" y="1"/>
                </a:cxn>
                <a:cxn ang="0">
                  <a:pos x="0" y="3"/>
                </a:cxn>
                <a:cxn ang="0">
                  <a:pos x="0" y="5"/>
                </a:cxn>
                <a:cxn ang="0">
                  <a:pos x="0" y="9"/>
                </a:cxn>
                <a:cxn ang="0">
                  <a:pos x="0" y="0"/>
                </a:cxn>
              </a:cxnLst>
              <a:rect l="0" t="0" r="r" b="b"/>
              <a:pathLst>
                <a:path h="9">
                  <a:moveTo>
                    <a:pt x="0" y="0"/>
                  </a:moveTo>
                  <a:lnTo>
                    <a:pt x="0" y="1"/>
                  </a:lnTo>
                  <a:lnTo>
                    <a:pt x="0" y="3"/>
                  </a:lnTo>
                  <a:lnTo>
                    <a:pt x="0" y="5"/>
                  </a:lnTo>
                  <a:lnTo>
                    <a:pt x="0" y="9"/>
                  </a:lnTo>
                  <a:lnTo>
                    <a:pt x="0" y="0"/>
                  </a:lnTo>
                  <a:close/>
                </a:path>
              </a:pathLst>
            </a:custGeom>
            <a:solidFill>
              <a:srgbClr val="FFFFCC"/>
            </a:solidFill>
            <a:ln w="9525" cmpd="sng">
              <a:solidFill>
                <a:schemeClr val="folHlink"/>
              </a:solidFill>
              <a:round/>
              <a:headEnd/>
              <a:tailEnd/>
            </a:ln>
          </p:spPr>
          <p:txBody>
            <a:bodyPr/>
            <a:lstStyle/>
            <a:p>
              <a:endParaRPr lang="en-US"/>
            </a:p>
          </p:txBody>
        </p:sp>
        <p:sp>
          <p:nvSpPr>
            <p:cNvPr id="113" name="Freeform 56"/>
            <p:cNvSpPr>
              <a:spLocks/>
            </p:cNvSpPr>
            <p:nvPr/>
          </p:nvSpPr>
          <p:spPr bwMode="gray">
            <a:xfrm>
              <a:off x="2648" y="1285"/>
              <a:ext cx="1" cy="4"/>
            </a:xfrm>
            <a:custGeom>
              <a:avLst/>
              <a:gdLst/>
              <a:ahLst/>
              <a:cxnLst>
                <a:cxn ang="0">
                  <a:pos x="0" y="0"/>
                </a:cxn>
                <a:cxn ang="0">
                  <a:pos x="0" y="0"/>
                </a:cxn>
                <a:cxn ang="0">
                  <a:pos x="0" y="1"/>
                </a:cxn>
                <a:cxn ang="0">
                  <a:pos x="0" y="3"/>
                </a:cxn>
                <a:cxn ang="0">
                  <a:pos x="0" y="5"/>
                </a:cxn>
                <a:cxn ang="0">
                  <a:pos x="0" y="9"/>
                </a:cxn>
              </a:cxnLst>
              <a:rect l="0" t="0" r="r" b="b"/>
              <a:pathLst>
                <a:path h="9">
                  <a:moveTo>
                    <a:pt x="0" y="0"/>
                  </a:moveTo>
                  <a:lnTo>
                    <a:pt x="0" y="0"/>
                  </a:lnTo>
                  <a:lnTo>
                    <a:pt x="0" y="1"/>
                  </a:lnTo>
                  <a:lnTo>
                    <a:pt x="0" y="3"/>
                  </a:lnTo>
                  <a:lnTo>
                    <a:pt x="0" y="5"/>
                  </a:lnTo>
                  <a:lnTo>
                    <a:pt x="0" y="9"/>
                  </a:lnTo>
                </a:path>
              </a:pathLst>
            </a:custGeom>
            <a:solidFill>
              <a:srgbClr val="FFFFCC"/>
            </a:solidFill>
            <a:ln w="9525" cmpd="sng">
              <a:solidFill>
                <a:schemeClr val="folHlink"/>
              </a:solidFill>
              <a:prstDash val="solid"/>
              <a:round/>
              <a:headEnd/>
              <a:tailEnd/>
            </a:ln>
          </p:spPr>
          <p:txBody>
            <a:bodyPr/>
            <a:lstStyle/>
            <a:p>
              <a:endParaRPr lang="en-US"/>
            </a:p>
          </p:txBody>
        </p:sp>
        <p:sp>
          <p:nvSpPr>
            <p:cNvPr id="114" name="Freeform 57"/>
            <p:cNvSpPr>
              <a:spLocks/>
            </p:cNvSpPr>
            <p:nvPr/>
          </p:nvSpPr>
          <p:spPr bwMode="gray">
            <a:xfrm>
              <a:off x="3166" y="2110"/>
              <a:ext cx="165" cy="172"/>
            </a:xfrm>
            <a:custGeom>
              <a:avLst/>
              <a:gdLst/>
              <a:ahLst/>
              <a:cxnLst>
                <a:cxn ang="0">
                  <a:pos x="96" y="82"/>
                </a:cxn>
                <a:cxn ang="0">
                  <a:pos x="94" y="107"/>
                </a:cxn>
                <a:cxn ang="0">
                  <a:pos x="96" y="118"/>
                </a:cxn>
                <a:cxn ang="0">
                  <a:pos x="98" y="130"/>
                </a:cxn>
                <a:cxn ang="0">
                  <a:pos x="92" y="143"/>
                </a:cxn>
                <a:cxn ang="0">
                  <a:pos x="92" y="160"/>
                </a:cxn>
                <a:cxn ang="0">
                  <a:pos x="121" y="174"/>
                </a:cxn>
                <a:cxn ang="0">
                  <a:pos x="123" y="195"/>
                </a:cxn>
                <a:cxn ang="0">
                  <a:pos x="100" y="216"/>
                </a:cxn>
                <a:cxn ang="0">
                  <a:pos x="75" y="240"/>
                </a:cxn>
                <a:cxn ang="0">
                  <a:pos x="40" y="275"/>
                </a:cxn>
                <a:cxn ang="0">
                  <a:pos x="31" y="284"/>
                </a:cxn>
                <a:cxn ang="0">
                  <a:pos x="25" y="296"/>
                </a:cxn>
                <a:cxn ang="0">
                  <a:pos x="19" y="340"/>
                </a:cxn>
                <a:cxn ang="0">
                  <a:pos x="8" y="385"/>
                </a:cxn>
                <a:cxn ang="0">
                  <a:pos x="2" y="437"/>
                </a:cxn>
                <a:cxn ang="0">
                  <a:pos x="0" y="456"/>
                </a:cxn>
                <a:cxn ang="0">
                  <a:pos x="2" y="471"/>
                </a:cxn>
                <a:cxn ang="0">
                  <a:pos x="12" y="467"/>
                </a:cxn>
                <a:cxn ang="0">
                  <a:pos x="21" y="465"/>
                </a:cxn>
                <a:cxn ang="0">
                  <a:pos x="33" y="471"/>
                </a:cxn>
                <a:cxn ang="0">
                  <a:pos x="60" y="456"/>
                </a:cxn>
                <a:cxn ang="0">
                  <a:pos x="77" y="446"/>
                </a:cxn>
                <a:cxn ang="0">
                  <a:pos x="189" y="435"/>
                </a:cxn>
                <a:cxn ang="0">
                  <a:pos x="184" y="427"/>
                </a:cxn>
                <a:cxn ang="0">
                  <a:pos x="180" y="418"/>
                </a:cxn>
                <a:cxn ang="0">
                  <a:pos x="187" y="403"/>
                </a:cxn>
                <a:cxn ang="0">
                  <a:pos x="195" y="397"/>
                </a:cxn>
                <a:cxn ang="0">
                  <a:pos x="199" y="380"/>
                </a:cxn>
                <a:cxn ang="0">
                  <a:pos x="206" y="368"/>
                </a:cxn>
                <a:cxn ang="0">
                  <a:pos x="237" y="357"/>
                </a:cxn>
                <a:cxn ang="0">
                  <a:pos x="245" y="355"/>
                </a:cxn>
                <a:cxn ang="0">
                  <a:pos x="252" y="351"/>
                </a:cxn>
                <a:cxn ang="0">
                  <a:pos x="266" y="343"/>
                </a:cxn>
                <a:cxn ang="0">
                  <a:pos x="277" y="349"/>
                </a:cxn>
                <a:cxn ang="0">
                  <a:pos x="287" y="343"/>
                </a:cxn>
                <a:cxn ang="0">
                  <a:pos x="292" y="336"/>
                </a:cxn>
                <a:cxn ang="0">
                  <a:pos x="302" y="343"/>
                </a:cxn>
                <a:cxn ang="0">
                  <a:pos x="317" y="330"/>
                </a:cxn>
                <a:cxn ang="0">
                  <a:pos x="327" y="322"/>
                </a:cxn>
                <a:cxn ang="0">
                  <a:pos x="334" y="328"/>
                </a:cxn>
                <a:cxn ang="0">
                  <a:pos x="351" y="357"/>
                </a:cxn>
                <a:cxn ang="0">
                  <a:pos x="359" y="355"/>
                </a:cxn>
                <a:cxn ang="0">
                  <a:pos x="363" y="336"/>
                </a:cxn>
                <a:cxn ang="0">
                  <a:pos x="378" y="303"/>
                </a:cxn>
                <a:cxn ang="0">
                  <a:pos x="409" y="265"/>
                </a:cxn>
                <a:cxn ang="0">
                  <a:pos x="435" y="223"/>
                </a:cxn>
                <a:cxn ang="0">
                  <a:pos x="439" y="176"/>
                </a:cxn>
                <a:cxn ang="0">
                  <a:pos x="422" y="111"/>
                </a:cxn>
                <a:cxn ang="0">
                  <a:pos x="390" y="52"/>
                </a:cxn>
                <a:cxn ang="0">
                  <a:pos x="361" y="0"/>
                </a:cxn>
                <a:cxn ang="0">
                  <a:pos x="329" y="29"/>
                </a:cxn>
                <a:cxn ang="0">
                  <a:pos x="304" y="42"/>
                </a:cxn>
                <a:cxn ang="0">
                  <a:pos x="285" y="42"/>
                </a:cxn>
                <a:cxn ang="0">
                  <a:pos x="273" y="42"/>
                </a:cxn>
                <a:cxn ang="0">
                  <a:pos x="254" y="48"/>
                </a:cxn>
                <a:cxn ang="0">
                  <a:pos x="233" y="53"/>
                </a:cxn>
                <a:cxn ang="0">
                  <a:pos x="210" y="57"/>
                </a:cxn>
                <a:cxn ang="0">
                  <a:pos x="189" y="52"/>
                </a:cxn>
                <a:cxn ang="0">
                  <a:pos x="163" y="46"/>
                </a:cxn>
                <a:cxn ang="0">
                  <a:pos x="134" y="52"/>
                </a:cxn>
                <a:cxn ang="0">
                  <a:pos x="113" y="63"/>
                </a:cxn>
                <a:cxn ang="0">
                  <a:pos x="96" y="69"/>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solidFill>
              <a:srgbClr val="FF0000"/>
            </a:solidFill>
            <a:ln w="9525" cmpd="sng">
              <a:solidFill>
                <a:schemeClr val="folHlink"/>
              </a:solidFill>
              <a:prstDash val="solid"/>
              <a:round/>
              <a:headEnd/>
              <a:tailEnd/>
            </a:ln>
          </p:spPr>
          <p:txBody>
            <a:bodyPr/>
            <a:lstStyle/>
            <a:p>
              <a:endParaRPr lang="en-US"/>
            </a:p>
          </p:txBody>
        </p:sp>
        <p:sp>
          <p:nvSpPr>
            <p:cNvPr id="115" name="Freeform 58"/>
            <p:cNvSpPr>
              <a:spLocks/>
            </p:cNvSpPr>
            <p:nvPr/>
          </p:nvSpPr>
          <p:spPr bwMode="gray">
            <a:xfrm>
              <a:off x="2716" y="2886"/>
              <a:ext cx="13" cy="27"/>
            </a:xfrm>
            <a:custGeom>
              <a:avLst/>
              <a:gdLst/>
              <a:ahLst/>
              <a:cxnLst>
                <a:cxn ang="0">
                  <a:pos x="0" y="0"/>
                </a:cxn>
                <a:cxn ang="0">
                  <a:pos x="0" y="0"/>
                </a:cxn>
                <a:cxn ang="0">
                  <a:pos x="1" y="0"/>
                </a:cxn>
                <a:cxn ang="0">
                  <a:pos x="3" y="2"/>
                </a:cxn>
                <a:cxn ang="0">
                  <a:pos x="7" y="4"/>
                </a:cxn>
                <a:cxn ang="0">
                  <a:pos x="11" y="8"/>
                </a:cxn>
                <a:cxn ang="0">
                  <a:pos x="15" y="11"/>
                </a:cxn>
                <a:cxn ang="0">
                  <a:pos x="21" y="15"/>
                </a:cxn>
                <a:cxn ang="0">
                  <a:pos x="24" y="21"/>
                </a:cxn>
                <a:cxn ang="0">
                  <a:pos x="28" y="27"/>
                </a:cxn>
                <a:cxn ang="0">
                  <a:pos x="32" y="32"/>
                </a:cxn>
                <a:cxn ang="0">
                  <a:pos x="34" y="38"/>
                </a:cxn>
                <a:cxn ang="0">
                  <a:pos x="34" y="46"/>
                </a:cxn>
                <a:cxn ang="0">
                  <a:pos x="34" y="52"/>
                </a:cxn>
                <a:cxn ang="0">
                  <a:pos x="30" y="57"/>
                </a:cxn>
                <a:cxn ang="0">
                  <a:pos x="24" y="63"/>
                </a:cxn>
                <a:cxn ang="0">
                  <a:pos x="17" y="69"/>
                </a:cxn>
                <a:cxn ang="0">
                  <a:pos x="5" y="74"/>
                </a:cxn>
                <a:cxn ang="0">
                  <a:pos x="0" y="0"/>
                </a:cxn>
              </a:cxnLst>
              <a:rect l="0" t="0" r="r" b="b"/>
              <a:pathLst>
                <a:path w="34" h="74">
                  <a:moveTo>
                    <a:pt x="0" y="0"/>
                  </a:moveTo>
                  <a:lnTo>
                    <a:pt x="0" y="0"/>
                  </a:lnTo>
                  <a:lnTo>
                    <a:pt x="1" y="0"/>
                  </a:lnTo>
                  <a:lnTo>
                    <a:pt x="3" y="2"/>
                  </a:lnTo>
                  <a:lnTo>
                    <a:pt x="7" y="4"/>
                  </a:lnTo>
                  <a:lnTo>
                    <a:pt x="11" y="8"/>
                  </a:lnTo>
                  <a:lnTo>
                    <a:pt x="15" y="11"/>
                  </a:lnTo>
                  <a:lnTo>
                    <a:pt x="21" y="15"/>
                  </a:lnTo>
                  <a:lnTo>
                    <a:pt x="24" y="21"/>
                  </a:lnTo>
                  <a:lnTo>
                    <a:pt x="28" y="27"/>
                  </a:lnTo>
                  <a:lnTo>
                    <a:pt x="32" y="32"/>
                  </a:lnTo>
                  <a:lnTo>
                    <a:pt x="34" y="38"/>
                  </a:lnTo>
                  <a:lnTo>
                    <a:pt x="34" y="46"/>
                  </a:lnTo>
                  <a:lnTo>
                    <a:pt x="34" y="52"/>
                  </a:lnTo>
                  <a:lnTo>
                    <a:pt x="30" y="57"/>
                  </a:lnTo>
                  <a:lnTo>
                    <a:pt x="24" y="63"/>
                  </a:lnTo>
                  <a:lnTo>
                    <a:pt x="17" y="69"/>
                  </a:lnTo>
                  <a:lnTo>
                    <a:pt x="5" y="74"/>
                  </a:lnTo>
                  <a:lnTo>
                    <a:pt x="0" y="0"/>
                  </a:lnTo>
                </a:path>
              </a:pathLst>
            </a:custGeom>
            <a:solidFill>
              <a:srgbClr val="FFFFCC"/>
            </a:solidFill>
            <a:ln w="9525" cmpd="sng">
              <a:solidFill>
                <a:schemeClr val="folHlink"/>
              </a:solidFill>
              <a:prstDash val="solid"/>
              <a:round/>
              <a:headEnd/>
              <a:tailEnd/>
            </a:ln>
          </p:spPr>
          <p:txBody>
            <a:bodyPr/>
            <a:lstStyle/>
            <a:p>
              <a:endParaRPr lang="en-US"/>
            </a:p>
          </p:txBody>
        </p:sp>
        <p:sp>
          <p:nvSpPr>
            <p:cNvPr id="116" name="Freeform 59"/>
            <p:cNvSpPr>
              <a:spLocks/>
            </p:cNvSpPr>
            <p:nvPr/>
          </p:nvSpPr>
          <p:spPr bwMode="gray">
            <a:xfrm>
              <a:off x="3356" y="1701"/>
              <a:ext cx="194" cy="161"/>
            </a:xfrm>
            <a:custGeom>
              <a:avLst/>
              <a:gdLst/>
              <a:ahLst/>
              <a:cxnLst>
                <a:cxn ang="0">
                  <a:pos x="74" y="296"/>
                </a:cxn>
                <a:cxn ang="0">
                  <a:pos x="86" y="311"/>
                </a:cxn>
                <a:cxn ang="0">
                  <a:pos x="99" y="315"/>
                </a:cxn>
                <a:cxn ang="0">
                  <a:pos x="116" y="275"/>
                </a:cxn>
                <a:cxn ang="0">
                  <a:pos x="135" y="269"/>
                </a:cxn>
                <a:cxn ang="0">
                  <a:pos x="172" y="290"/>
                </a:cxn>
                <a:cxn ang="0">
                  <a:pos x="193" y="286"/>
                </a:cxn>
                <a:cxn ang="0">
                  <a:pos x="208" y="277"/>
                </a:cxn>
                <a:cxn ang="0">
                  <a:pos x="217" y="283"/>
                </a:cxn>
                <a:cxn ang="0">
                  <a:pos x="221" y="290"/>
                </a:cxn>
                <a:cxn ang="0">
                  <a:pos x="248" y="286"/>
                </a:cxn>
                <a:cxn ang="0">
                  <a:pos x="269" y="286"/>
                </a:cxn>
                <a:cxn ang="0">
                  <a:pos x="301" y="290"/>
                </a:cxn>
                <a:cxn ang="0">
                  <a:pos x="332" y="300"/>
                </a:cxn>
                <a:cxn ang="0">
                  <a:pos x="359" y="319"/>
                </a:cxn>
                <a:cxn ang="0">
                  <a:pos x="366" y="334"/>
                </a:cxn>
                <a:cxn ang="0">
                  <a:pos x="374" y="349"/>
                </a:cxn>
                <a:cxn ang="0">
                  <a:pos x="406" y="374"/>
                </a:cxn>
                <a:cxn ang="0">
                  <a:pos x="441" y="401"/>
                </a:cxn>
                <a:cxn ang="0">
                  <a:pos x="469" y="433"/>
                </a:cxn>
                <a:cxn ang="0">
                  <a:pos x="490" y="431"/>
                </a:cxn>
                <a:cxn ang="0">
                  <a:pos x="515" y="418"/>
                </a:cxn>
                <a:cxn ang="0">
                  <a:pos x="490" y="399"/>
                </a:cxn>
                <a:cxn ang="0">
                  <a:pos x="469" y="378"/>
                </a:cxn>
                <a:cxn ang="0">
                  <a:pos x="462" y="355"/>
                </a:cxn>
                <a:cxn ang="0">
                  <a:pos x="446" y="342"/>
                </a:cxn>
                <a:cxn ang="0">
                  <a:pos x="412" y="328"/>
                </a:cxn>
                <a:cxn ang="0">
                  <a:pos x="389" y="305"/>
                </a:cxn>
                <a:cxn ang="0">
                  <a:pos x="362" y="271"/>
                </a:cxn>
                <a:cxn ang="0">
                  <a:pos x="341" y="262"/>
                </a:cxn>
                <a:cxn ang="0">
                  <a:pos x="320" y="260"/>
                </a:cxn>
                <a:cxn ang="0">
                  <a:pos x="299" y="254"/>
                </a:cxn>
                <a:cxn ang="0">
                  <a:pos x="282" y="243"/>
                </a:cxn>
                <a:cxn ang="0">
                  <a:pos x="271" y="218"/>
                </a:cxn>
                <a:cxn ang="0">
                  <a:pos x="252" y="212"/>
                </a:cxn>
                <a:cxn ang="0">
                  <a:pos x="227" y="187"/>
                </a:cxn>
                <a:cxn ang="0">
                  <a:pos x="204" y="143"/>
                </a:cxn>
                <a:cxn ang="0">
                  <a:pos x="194" y="119"/>
                </a:cxn>
                <a:cxn ang="0">
                  <a:pos x="185" y="77"/>
                </a:cxn>
                <a:cxn ang="0">
                  <a:pos x="168" y="33"/>
                </a:cxn>
                <a:cxn ang="0">
                  <a:pos x="143" y="4"/>
                </a:cxn>
                <a:cxn ang="0">
                  <a:pos x="126" y="33"/>
                </a:cxn>
                <a:cxn ang="0">
                  <a:pos x="80" y="65"/>
                </a:cxn>
                <a:cxn ang="0">
                  <a:pos x="34" y="98"/>
                </a:cxn>
                <a:cxn ang="0">
                  <a:pos x="25" y="130"/>
                </a:cxn>
                <a:cxn ang="0">
                  <a:pos x="25" y="145"/>
                </a:cxn>
                <a:cxn ang="0">
                  <a:pos x="23" y="162"/>
                </a:cxn>
                <a:cxn ang="0">
                  <a:pos x="15" y="191"/>
                </a:cxn>
                <a:cxn ang="0">
                  <a:pos x="4" y="222"/>
                </a:cxn>
                <a:cxn ang="0">
                  <a:pos x="0" y="246"/>
                </a:cxn>
                <a:cxn ang="0">
                  <a:pos x="6" y="285"/>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solidFill>
              <a:srgbClr val="FF0000"/>
            </a:solidFill>
            <a:ln w="9525" cmpd="sng">
              <a:solidFill>
                <a:schemeClr val="folHlink"/>
              </a:solidFill>
              <a:prstDash val="solid"/>
              <a:round/>
              <a:headEnd/>
              <a:tailEnd/>
            </a:ln>
          </p:spPr>
          <p:txBody>
            <a:bodyPr/>
            <a:lstStyle/>
            <a:p>
              <a:endParaRPr lang="en-US"/>
            </a:p>
          </p:txBody>
        </p:sp>
        <p:sp>
          <p:nvSpPr>
            <p:cNvPr id="117" name="Freeform 60"/>
            <p:cNvSpPr>
              <a:spLocks/>
            </p:cNvSpPr>
            <p:nvPr/>
          </p:nvSpPr>
          <p:spPr bwMode="gray">
            <a:xfrm>
              <a:off x="3267" y="1797"/>
              <a:ext cx="435" cy="335"/>
            </a:xfrm>
            <a:custGeom>
              <a:avLst/>
              <a:gdLst/>
              <a:ahLst/>
              <a:cxnLst>
                <a:cxn ang="0">
                  <a:pos x="246" y="55"/>
                </a:cxn>
                <a:cxn ang="0">
                  <a:pos x="229" y="108"/>
                </a:cxn>
                <a:cxn ang="0">
                  <a:pos x="231" y="154"/>
                </a:cxn>
                <a:cxn ang="0">
                  <a:pos x="216" y="181"/>
                </a:cxn>
                <a:cxn ang="0">
                  <a:pos x="193" y="185"/>
                </a:cxn>
                <a:cxn ang="0">
                  <a:pos x="174" y="217"/>
                </a:cxn>
                <a:cxn ang="0">
                  <a:pos x="157" y="257"/>
                </a:cxn>
                <a:cxn ang="0">
                  <a:pos x="147" y="309"/>
                </a:cxn>
                <a:cxn ang="0">
                  <a:pos x="126" y="337"/>
                </a:cxn>
                <a:cxn ang="0">
                  <a:pos x="98" y="362"/>
                </a:cxn>
                <a:cxn ang="0">
                  <a:pos x="98" y="383"/>
                </a:cxn>
                <a:cxn ang="0">
                  <a:pos x="82" y="429"/>
                </a:cxn>
                <a:cxn ang="0">
                  <a:pos x="80" y="475"/>
                </a:cxn>
                <a:cxn ang="0">
                  <a:pos x="77" y="511"/>
                </a:cxn>
                <a:cxn ang="0">
                  <a:pos x="40" y="530"/>
                </a:cxn>
                <a:cxn ang="0">
                  <a:pos x="14" y="547"/>
                </a:cxn>
                <a:cxn ang="0">
                  <a:pos x="2" y="562"/>
                </a:cxn>
                <a:cxn ang="0">
                  <a:pos x="18" y="581"/>
                </a:cxn>
                <a:cxn ang="0">
                  <a:pos x="58" y="591"/>
                </a:cxn>
                <a:cxn ang="0">
                  <a:pos x="101" y="629"/>
                </a:cxn>
                <a:cxn ang="0">
                  <a:pos x="140" y="673"/>
                </a:cxn>
                <a:cxn ang="0">
                  <a:pos x="151" y="702"/>
                </a:cxn>
                <a:cxn ang="0">
                  <a:pos x="161" y="738"/>
                </a:cxn>
                <a:cxn ang="0">
                  <a:pos x="182" y="761"/>
                </a:cxn>
                <a:cxn ang="0">
                  <a:pos x="216" y="768"/>
                </a:cxn>
                <a:cxn ang="0">
                  <a:pos x="227" y="814"/>
                </a:cxn>
                <a:cxn ang="0">
                  <a:pos x="233" y="828"/>
                </a:cxn>
                <a:cxn ang="0">
                  <a:pos x="281" y="849"/>
                </a:cxn>
                <a:cxn ang="0">
                  <a:pos x="348" y="873"/>
                </a:cxn>
                <a:cxn ang="0">
                  <a:pos x="456" y="906"/>
                </a:cxn>
                <a:cxn ang="0">
                  <a:pos x="504" y="919"/>
                </a:cxn>
                <a:cxn ang="0">
                  <a:pos x="542" y="904"/>
                </a:cxn>
                <a:cxn ang="0">
                  <a:pos x="582" y="860"/>
                </a:cxn>
                <a:cxn ang="0">
                  <a:pos x="624" y="852"/>
                </a:cxn>
                <a:cxn ang="0">
                  <a:pos x="657" y="873"/>
                </a:cxn>
                <a:cxn ang="0">
                  <a:pos x="754" y="850"/>
                </a:cxn>
                <a:cxn ang="0">
                  <a:pos x="830" y="799"/>
                </a:cxn>
                <a:cxn ang="0">
                  <a:pos x="853" y="454"/>
                </a:cxn>
                <a:cxn ang="0">
                  <a:pos x="813" y="425"/>
                </a:cxn>
                <a:cxn ang="0">
                  <a:pos x="779" y="379"/>
                </a:cxn>
                <a:cxn ang="0">
                  <a:pos x="754" y="347"/>
                </a:cxn>
                <a:cxn ang="0">
                  <a:pos x="737" y="322"/>
                </a:cxn>
                <a:cxn ang="0">
                  <a:pos x="765" y="284"/>
                </a:cxn>
                <a:cxn ang="0">
                  <a:pos x="748" y="276"/>
                </a:cxn>
                <a:cxn ang="0">
                  <a:pos x="693" y="299"/>
                </a:cxn>
                <a:cxn ang="0">
                  <a:pos x="668" y="265"/>
                </a:cxn>
                <a:cxn ang="0">
                  <a:pos x="674" y="215"/>
                </a:cxn>
                <a:cxn ang="0">
                  <a:pos x="706" y="171"/>
                </a:cxn>
                <a:cxn ang="0">
                  <a:pos x="664" y="127"/>
                </a:cxn>
                <a:cxn ang="0">
                  <a:pos x="617" y="91"/>
                </a:cxn>
                <a:cxn ang="0">
                  <a:pos x="601" y="68"/>
                </a:cxn>
                <a:cxn ang="0">
                  <a:pos x="578" y="43"/>
                </a:cxn>
                <a:cxn ang="0">
                  <a:pos x="538" y="28"/>
                </a:cxn>
                <a:cxn ang="0">
                  <a:pos x="500" y="24"/>
                </a:cxn>
                <a:cxn ang="0">
                  <a:pos x="464" y="28"/>
                </a:cxn>
                <a:cxn ang="0">
                  <a:pos x="452" y="17"/>
                </a:cxn>
                <a:cxn ang="0">
                  <a:pos x="435" y="19"/>
                </a:cxn>
                <a:cxn ang="0">
                  <a:pos x="409" y="28"/>
                </a:cxn>
                <a:cxn ang="0">
                  <a:pos x="359" y="0"/>
                </a:cxn>
                <a:cxn ang="0">
                  <a:pos x="340" y="47"/>
                </a:cxn>
                <a:cxn ang="0">
                  <a:pos x="321" y="45"/>
                </a:cxn>
                <a:cxn ang="0">
                  <a:pos x="245" y="45"/>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solidFill>
              <a:srgbClr val="FF0000"/>
            </a:solidFill>
            <a:ln w="9525" cmpd="sng">
              <a:solidFill>
                <a:schemeClr val="folHlink"/>
              </a:solidFill>
              <a:prstDash val="solid"/>
              <a:round/>
              <a:headEnd/>
              <a:tailEnd/>
            </a:ln>
          </p:spPr>
          <p:txBody>
            <a:bodyPr/>
            <a:lstStyle/>
            <a:p>
              <a:endParaRPr lang="en-US"/>
            </a:p>
          </p:txBody>
        </p:sp>
        <p:sp>
          <p:nvSpPr>
            <p:cNvPr id="118" name="Freeform 61"/>
            <p:cNvSpPr>
              <a:spLocks/>
            </p:cNvSpPr>
            <p:nvPr/>
          </p:nvSpPr>
          <p:spPr bwMode="gray">
            <a:xfrm>
              <a:off x="3154" y="2353"/>
              <a:ext cx="63" cy="140"/>
            </a:xfrm>
            <a:custGeom>
              <a:avLst/>
              <a:gdLst/>
              <a:ahLst/>
              <a:cxnLst>
                <a:cxn ang="0">
                  <a:pos x="25" y="21"/>
                </a:cxn>
                <a:cxn ang="0">
                  <a:pos x="34" y="34"/>
                </a:cxn>
                <a:cxn ang="0">
                  <a:pos x="40" y="51"/>
                </a:cxn>
                <a:cxn ang="0">
                  <a:pos x="46" y="68"/>
                </a:cxn>
                <a:cxn ang="0">
                  <a:pos x="49" y="84"/>
                </a:cxn>
                <a:cxn ang="0">
                  <a:pos x="55" y="105"/>
                </a:cxn>
                <a:cxn ang="0">
                  <a:pos x="55" y="128"/>
                </a:cxn>
                <a:cxn ang="0">
                  <a:pos x="61" y="143"/>
                </a:cxn>
                <a:cxn ang="0">
                  <a:pos x="63" y="160"/>
                </a:cxn>
                <a:cxn ang="0">
                  <a:pos x="55" y="171"/>
                </a:cxn>
                <a:cxn ang="0">
                  <a:pos x="51" y="185"/>
                </a:cxn>
                <a:cxn ang="0">
                  <a:pos x="61" y="200"/>
                </a:cxn>
                <a:cxn ang="0">
                  <a:pos x="80" y="210"/>
                </a:cxn>
                <a:cxn ang="0">
                  <a:pos x="95" y="223"/>
                </a:cxn>
                <a:cxn ang="0">
                  <a:pos x="107" y="246"/>
                </a:cxn>
                <a:cxn ang="0">
                  <a:pos x="114" y="269"/>
                </a:cxn>
                <a:cxn ang="0">
                  <a:pos x="126" y="296"/>
                </a:cxn>
                <a:cxn ang="0">
                  <a:pos x="133" y="318"/>
                </a:cxn>
                <a:cxn ang="0">
                  <a:pos x="143" y="343"/>
                </a:cxn>
                <a:cxn ang="0">
                  <a:pos x="154" y="358"/>
                </a:cxn>
                <a:cxn ang="0">
                  <a:pos x="166" y="374"/>
                </a:cxn>
                <a:cxn ang="0">
                  <a:pos x="166" y="385"/>
                </a:cxn>
                <a:cxn ang="0">
                  <a:pos x="160" y="385"/>
                </a:cxn>
                <a:cxn ang="0">
                  <a:pos x="151" y="381"/>
                </a:cxn>
                <a:cxn ang="0">
                  <a:pos x="141" y="370"/>
                </a:cxn>
                <a:cxn ang="0">
                  <a:pos x="126" y="353"/>
                </a:cxn>
                <a:cxn ang="0">
                  <a:pos x="112" y="339"/>
                </a:cxn>
                <a:cxn ang="0">
                  <a:pos x="95" y="320"/>
                </a:cxn>
                <a:cxn ang="0">
                  <a:pos x="88" y="297"/>
                </a:cxn>
                <a:cxn ang="0">
                  <a:pos x="78" y="275"/>
                </a:cxn>
                <a:cxn ang="0">
                  <a:pos x="63" y="261"/>
                </a:cxn>
                <a:cxn ang="0">
                  <a:pos x="48" y="250"/>
                </a:cxn>
                <a:cxn ang="0">
                  <a:pos x="38" y="240"/>
                </a:cxn>
                <a:cxn ang="0">
                  <a:pos x="30" y="227"/>
                </a:cxn>
                <a:cxn ang="0">
                  <a:pos x="25" y="213"/>
                </a:cxn>
                <a:cxn ang="0">
                  <a:pos x="19" y="198"/>
                </a:cxn>
                <a:cxn ang="0">
                  <a:pos x="15" y="183"/>
                </a:cxn>
                <a:cxn ang="0">
                  <a:pos x="13" y="170"/>
                </a:cxn>
                <a:cxn ang="0">
                  <a:pos x="13" y="158"/>
                </a:cxn>
                <a:cxn ang="0">
                  <a:pos x="13" y="152"/>
                </a:cxn>
                <a:cxn ang="0">
                  <a:pos x="13" y="143"/>
                </a:cxn>
                <a:cxn ang="0">
                  <a:pos x="11" y="131"/>
                </a:cxn>
                <a:cxn ang="0">
                  <a:pos x="8" y="120"/>
                </a:cxn>
                <a:cxn ang="0">
                  <a:pos x="4" y="109"/>
                </a:cxn>
                <a:cxn ang="0">
                  <a:pos x="0" y="93"/>
                </a:cxn>
                <a:cxn ang="0">
                  <a:pos x="0" y="78"/>
                </a:cxn>
                <a:cxn ang="0">
                  <a:pos x="2" y="63"/>
                </a:cxn>
                <a:cxn ang="0">
                  <a:pos x="6" y="49"/>
                </a:cxn>
                <a:cxn ang="0">
                  <a:pos x="6" y="36"/>
                </a:cxn>
                <a:cxn ang="0">
                  <a:pos x="2" y="25"/>
                </a:cxn>
                <a:cxn ang="0">
                  <a:pos x="0" y="13"/>
                </a:cxn>
                <a:cxn ang="0">
                  <a:pos x="0" y="7"/>
                </a:cxn>
                <a:cxn ang="0">
                  <a:pos x="0" y="4"/>
                </a:cxn>
                <a:cxn ang="0">
                  <a:pos x="8" y="0"/>
                </a:cxn>
                <a:cxn ang="0">
                  <a:pos x="11" y="7"/>
                </a:cxn>
                <a:cxn ang="0">
                  <a:pos x="15" y="13"/>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solidFill>
              <a:srgbClr val="FFFFCC"/>
            </a:solidFill>
            <a:ln w="9525" cmpd="sng">
              <a:solidFill>
                <a:schemeClr val="folHlink"/>
              </a:solidFill>
              <a:round/>
              <a:headEnd/>
              <a:tailEnd/>
            </a:ln>
          </p:spPr>
          <p:txBody>
            <a:bodyPr/>
            <a:lstStyle/>
            <a:p>
              <a:endParaRPr lang="en-US"/>
            </a:p>
          </p:txBody>
        </p:sp>
        <p:sp>
          <p:nvSpPr>
            <p:cNvPr id="119" name="Freeform 62"/>
            <p:cNvSpPr>
              <a:spLocks/>
            </p:cNvSpPr>
            <p:nvPr/>
          </p:nvSpPr>
          <p:spPr bwMode="gray">
            <a:xfrm>
              <a:off x="3154" y="2353"/>
              <a:ext cx="63" cy="140"/>
            </a:xfrm>
            <a:custGeom>
              <a:avLst/>
              <a:gdLst/>
              <a:ahLst/>
              <a:cxnLst>
                <a:cxn ang="0">
                  <a:pos x="21" y="19"/>
                </a:cxn>
                <a:cxn ang="0">
                  <a:pos x="30" y="30"/>
                </a:cxn>
                <a:cxn ang="0">
                  <a:pos x="38" y="46"/>
                </a:cxn>
                <a:cxn ang="0">
                  <a:pos x="44" y="61"/>
                </a:cxn>
                <a:cxn ang="0">
                  <a:pos x="48" y="78"/>
                </a:cxn>
                <a:cxn ang="0">
                  <a:pos x="53" y="93"/>
                </a:cxn>
                <a:cxn ang="0">
                  <a:pos x="55" y="114"/>
                </a:cxn>
                <a:cxn ang="0">
                  <a:pos x="55" y="133"/>
                </a:cxn>
                <a:cxn ang="0">
                  <a:pos x="67" y="149"/>
                </a:cxn>
                <a:cxn ang="0">
                  <a:pos x="63" y="160"/>
                </a:cxn>
                <a:cxn ang="0">
                  <a:pos x="55" y="171"/>
                </a:cxn>
                <a:cxn ang="0">
                  <a:pos x="51" y="185"/>
                </a:cxn>
                <a:cxn ang="0">
                  <a:pos x="57" y="196"/>
                </a:cxn>
                <a:cxn ang="0">
                  <a:pos x="74" y="208"/>
                </a:cxn>
                <a:cxn ang="0">
                  <a:pos x="88" y="215"/>
                </a:cxn>
                <a:cxn ang="0">
                  <a:pos x="101" y="231"/>
                </a:cxn>
                <a:cxn ang="0">
                  <a:pos x="109" y="254"/>
                </a:cxn>
                <a:cxn ang="0">
                  <a:pos x="118" y="278"/>
                </a:cxn>
                <a:cxn ang="0">
                  <a:pos x="126" y="296"/>
                </a:cxn>
                <a:cxn ang="0">
                  <a:pos x="133" y="318"/>
                </a:cxn>
                <a:cxn ang="0">
                  <a:pos x="143" y="343"/>
                </a:cxn>
                <a:cxn ang="0">
                  <a:pos x="151" y="355"/>
                </a:cxn>
                <a:cxn ang="0">
                  <a:pos x="162" y="368"/>
                </a:cxn>
                <a:cxn ang="0">
                  <a:pos x="168" y="385"/>
                </a:cxn>
                <a:cxn ang="0">
                  <a:pos x="166" y="385"/>
                </a:cxn>
                <a:cxn ang="0">
                  <a:pos x="156" y="383"/>
                </a:cxn>
                <a:cxn ang="0">
                  <a:pos x="151" y="379"/>
                </a:cxn>
                <a:cxn ang="0">
                  <a:pos x="141" y="370"/>
                </a:cxn>
                <a:cxn ang="0">
                  <a:pos x="126" y="353"/>
                </a:cxn>
                <a:cxn ang="0">
                  <a:pos x="112" y="339"/>
                </a:cxn>
                <a:cxn ang="0">
                  <a:pos x="99" y="328"/>
                </a:cxn>
                <a:cxn ang="0">
                  <a:pos x="90" y="307"/>
                </a:cxn>
                <a:cxn ang="0">
                  <a:pos x="82" y="280"/>
                </a:cxn>
                <a:cxn ang="0">
                  <a:pos x="74" y="271"/>
                </a:cxn>
                <a:cxn ang="0">
                  <a:pos x="57" y="257"/>
                </a:cxn>
                <a:cxn ang="0">
                  <a:pos x="42" y="246"/>
                </a:cxn>
                <a:cxn ang="0">
                  <a:pos x="38" y="240"/>
                </a:cxn>
                <a:cxn ang="0">
                  <a:pos x="30" y="227"/>
                </a:cxn>
                <a:cxn ang="0">
                  <a:pos x="25" y="213"/>
                </a:cxn>
                <a:cxn ang="0">
                  <a:pos x="19" y="198"/>
                </a:cxn>
                <a:cxn ang="0">
                  <a:pos x="15" y="183"/>
                </a:cxn>
                <a:cxn ang="0">
                  <a:pos x="13" y="173"/>
                </a:cxn>
                <a:cxn ang="0">
                  <a:pos x="13" y="162"/>
                </a:cxn>
                <a:cxn ang="0">
                  <a:pos x="13" y="154"/>
                </a:cxn>
                <a:cxn ang="0">
                  <a:pos x="13" y="149"/>
                </a:cxn>
                <a:cxn ang="0">
                  <a:pos x="13" y="139"/>
                </a:cxn>
                <a:cxn ang="0">
                  <a:pos x="9" y="128"/>
                </a:cxn>
                <a:cxn ang="0">
                  <a:pos x="6" y="116"/>
                </a:cxn>
                <a:cxn ang="0">
                  <a:pos x="2" y="103"/>
                </a:cxn>
                <a:cxn ang="0">
                  <a:pos x="0" y="89"/>
                </a:cxn>
                <a:cxn ang="0">
                  <a:pos x="0" y="78"/>
                </a:cxn>
                <a:cxn ang="0">
                  <a:pos x="2" y="63"/>
                </a:cxn>
                <a:cxn ang="0">
                  <a:pos x="6" y="49"/>
                </a:cxn>
                <a:cxn ang="0">
                  <a:pos x="6" y="40"/>
                </a:cxn>
                <a:cxn ang="0">
                  <a:pos x="2" y="28"/>
                </a:cxn>
                <a:cxn ang="0">
                  <a:pos x="0" y="17"/>
                </a:cxn>
                <a:cxn ang="0">
                  <a:pos x="0" y="11"/>
                </a:cxn>
                <a:cxn ang="0">
                  <a:pos x="0" y="6"/>
                </a:cxn>
                <a:cxn ang="0">
                  <a:pos x="0" y="2"/>
                </a:cxn>
                <a:cxn ang="0">
                  <a:pos x="8" y="0"/>
                </a:cxn>
                <a:cxn ang="0">
                  <a:pos x="11" y="7"/>
                </a:cxn>
                <a:cxn ang="0">
                  <a:pos x="15" y="13"/>
                </a:cxn>
              </a:cxnLst>
              <a:rect l="0" t="0" r="r" b="b"/>
              <a:pathLst>
                <a:path w="168" h="385">
                  <a:moveTo>
                    <a:pt x="17" y="15"/>
                  </a:moveTo>
                  <a:lnTo>
                    <a:pt x="17" y="15"/>
                  </a:ln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3" y="93"/>
                  </a:lnTo>
                  <a:lnTo>
                    <a:pt x="55" y="105"/>
                  </a:lnTo>
                  <a:lnTo>
                    <a:pt x="55" y="114"/>
                  </a:lnTo>
                  <a:lnTo>
                    <a:pt x="55" y="122"/>
                  </a:lnTo>
                  <a:lnTo>
                    <a:pt x="55" y="128"/>
                  </a:lnTo>
                  <a:lnTo>
                    <a:pt x="55" y="133"/>
                  </a:lnTo>
                  <a:lnTo>
                    <a:pt x="57" y="139"/>
                  </a:lnTo>
                  <a:lnTo>
                    <a:pt x="61" y="143"/>
                  </a:lnTo>
                  <a:lnTo>
                    <a:pt x="67" y="149"/>
                  </a:lnTo>
                  <a:lnTo>
                    <a:pt x="67" y="149"/>
                  </a:lnTo>
                  <a:lnTo>
                    <a:pt x="65" y="154"/>
                  </a:lnTo>
                  <a:lnTo>
                    <a:pt x="63" y="160"/>
                  </a:lnTo>
                  <a:lnTo>
                    <a:pt x="61" y="164"/>
                  </a:lnTo>
                  <a:lnTo>
                    <a:pt x="57" y="168"/>
                  </a:lnTo>
                  <a:lnTo>
                    <a:pt x="55" y="171"/>
                  </a:lnTo>
                  <a:lnTo>
                    <a:pt x="53" y="175"/>
                  </a:lnTo>
                  <a:lnTo>
                    <a:pt x="51" y="179"/>
                  </a:lnTo>
                  <a:lnTo>
                    <a:pt x="51" y="185"/>
                  </a:lnTo>
                  <a:lnTo>
                    <a:pt x="51" y="185"/>
                  </a:lnTo>
                  <a:lnTo>
                    <a:pt x="53" y="191"/>
                  </a:lnTo>
                  <a:lnTo>
                    <a:pt x="57" y="196"/>
                  </a:lnTo>
                  <a:lnTo>
                    <a:pt x="61" y="200"/>
                  </a:lnTo>
                  <a:lnTo>
                    <a:pt x="67" y="204"/>
                  </a:lnTo>
                  <a:lnTo>
                    <a:pt x="74" y="208"/>
                  </a:lnTo>
                  <a:lnTo>
                    <a:pt x="80" y="210"/>
                  </a:lnTo>
                  <a:lnTo>
                    <a:pt x="84" y="213"/>
                  </a:lnTo>
                  <a:lnTo>
                    <a:pt x="88" y="215"/>
                  </a:lnTo>
                  <a:lnTo>
                    <a:pt x="88" y="215"/>
                  </a:lnTo>
                  <a:lnTo>
                    <a:pt x="95" y="223"/>
                  </a:lnTo>
                  <a:lnTo>
                    <a:pt x="101" y="231"/>
                  </a:lnTo>
                  <a:lnTo>
                    <a:pt x="105" y="238"/>
                  </a:lnTo>
                  <a:lnTo>
                    <a:pt x="107" y="246"/>
                  </a:lnTo>
                  <a:lnTo>
                    <a:pt x="109" y="254"/>
                  </a:lnTo>
                  <a:lnTo>
                    <a:pt x="111" y="261"/>
                  </a:lnTo>
                  <a:lnTo>
                    <a:pt x="114" y="269"/>
                  </a:lnTo>
                  <a:lnTo>
                    <a:pt x="118" y="278"/>
                  </a:lnTo>
                  <a:lnTo>
                    <a:pt x="118" y="278"/>
                  </a:lnTo>
                  <a:lnTo>
                    <a:pt x="122" y="286"/>
                  </a:lnTo>
                  <a:lnTo>
                    <a:pt x="126" y="296"/>
                  </a:lnTo>
                  <a:lnTo>
                    <a:pt x="128" y="303"/>
                  </a:lnTo>
                  <a:lnTo>
                    <a:pt x="132" y="311"/>
                  </a:lnTo>
                  <a:lnTo>
                    <a:pt x="133" y="318"/>
                  </a:lnTo>
                  <a:lnTo>
                    <a:pt x="137" y="326"/>
                  </a:lnTo>
                  <a:lnTo>
                    <a:pt x="139" y="336"/>
                  </a:lnTo>
                  <a:lnTo>
                    <a:pt x="143" y="343"/>
                  </a:lnTo>
                  <a:lnTo>
                    <a:pt x="143" y="343"/>
                  </a:lnTo>
                  <a:lnTo>
                    <a:pt x="147" y="349"/>
                  </a:lnTo>
                  <a:lnTo>
                    <a:pt x="151" y="355"/>
                  </a:lnTo>
                  <a:lnTo>
                    <a:pt x="154" y="358"/>
                  </a:lnTo>
                  <a:lnTo>
                    <a:pt x="158" y="364"/>
                  </a:lnTo>
                  <a:lnTo>
                    <a:pt x="162" y="368"/>
                  </a:lnTo>
                  <a:lnTo>
                    <a:pt x="166" y="374"/>
                  </a:lnTo>
                  <a:lnTo>
                    <a:pt x="166" y="378"/>
                  </a:lnTo>
                  <a:lnTo>
                    <a:pt x="168" y="385"/>
                  </a:lnTo>
                  <a:lnTo>
                    <a:pt x="168" y="385"/>
                  </a:lnTo>
                  <a:lnTo>
                    <a:pt x="166" y="385"/>
                  </a:lnTo>
                  <a:lnTo>
                    <a:pt x="166" y="385"/>
                  </a:lnTo>
                  <a:lnTo>
                    <a:pt x="162" y="385"/>
                  </a:lnTo>
                  <a:lnTo>
                    <a:pt x="160" y="385"/>
                  </a:lnTo>
                  <a:lnTo>
                    <a:pt x="156" y="383"/>
                  </a:lnTo>
                  <a:lnTo>
                    <a:pt x="154" y="383"/>
                  </a:lnTo>
                  <a:lnTo>
                    <a:pt x="151" y="381"/>
                  </a:lnTo>
                  <a:lnTo>
                    <a:pt x="151" y="379"/>
                  </a:lnTo>
                  <a:lnTo>
                    <a:pt x="151" y="379"/>
                  </a:lnTo>
                  <a:lnTo>
                    <a:pt x="145" y="374"/>
                  </a:lnTo>
                  <a:lnTo>
                    <a:pt x="141" y="370"/>
                  </a:lnTo>
                  <a:lnTo>
                    <a:pt x="135" y="364"/>
                  </a:lnTo>
                  <a:lnTo>
                    <a:pt x="132" y="358"/>
                  </a:lnTo>
                  <a:lnTo>
                    <a:pt x="126" y="353"/>
                  </a:lnTo>
                  <a:lnTo>
                    <a:pt x="122" y="347"/>
                  </a:lnTo>
                  <a:lnTo>
                    <a:pt x="118" y="343"/>
                  </a:lnTo>
                  <a:lnTo>
                    <a:pt x="112" y="339"/>
                  </a:lnTo>
                  <a:lnTo>
                    <a:pt x="112" y="339"/>
                  </a:lnTo>
                  <a:lnTo>
                    <a:pt x="105" y="334"/>
                  </a:lnTo>
                  <a:lnTo>
                    <a:pt x="99" y="328"/>
                  </a:lnTo>
                  <a:lnTo>
                    <a:pt x="95" y="320"/>
                  </a:lnTo>
                  <a:lnTo>
                    <a:pt x="93" y="315"/>
                  </a:lnTo>
                  <a:lnTo>
                    <a:pt x="90" y="307"/>
                  </a:lnTo>
                  <a:lnTo>
                    <a:pt x="88" y="297"/>
                  </a:lnTo>
                  <a:lnTo>
                    <a:pt x="86" y="290"/>
                  </a:lnTo>
                  <a:lnTo>
                    <a:pt x="82" y="280"/>
                  </a:lnTo>
                  <a:lnTo>
                    <a:pt x="82" y="280"/>
                  </a:lnTo>
                  <a:lnTo>
                    <a:pt x="78" y="275"/>
                  </a:lnTo>
                  <a:lnTo>
                    <a:pt x="74" y="271"/>
                  </a:lnTo>
                  <a:lnTo>
                    <a:pt x="69" y="265"/>
                  </a:lnTo>
                  <a:lnTo>
                    <a:pt x="63" y="261"/>
                  </a:lnTo>
                  <a:lnTo>
                    <a:pt x="57" y="257"/>
                  </a:lnTo>
                  <a:lnTo>
                    <a:pt x="51" y="254"/>
                  </a:lnTo>
                  <a:lnTo>
                    <a:pt x="48" y="250"/>
                  </a:lnTo>
                  <a:lnTo>
                    <a:pt x="42" y="246"/>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3"/>
                  </a:lnTo>
                  <a:lnTo>
                    <a:pt x="13" y="170"/>
                  </a:lnTo>
                  <a:lnTo>
                    <a:pt x="13" y="166"/>
                  </a:lnTo>
                  <a:lnTo>
                    <a:pt x="13" y="162"/>
                  </a:lnTo>
                  <a:lnTo>
                    <a:pt x="13" y="158"/>
                  </a:lnTo>
                  <a:lnTo>
                    <a:pt x="13" y="156"/>
                  </a:lnTo>
                  <a:lnTo>
                    <a:pt x="13" y="154"/>
                  </a:lnTo>
                  <a:lnTo>
                    <a:pt x="13" y="152"/>
                  </a:lnTo>
                  <a:lnTo>
                    <a:pt x="13" y="149"/>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84"/>
                  </a:lnTo>
                  <a:lnTo>
                    <a:pt x="0" y="78"/>
                  </a:lnTo>
                  <a:lnTo>
                    <a:pt x="0" y="72"/>
                  </a:lnTo>
                  <a:lnTo>
                    <a:pt x="2" y="67"/>
                  </a:lnTo>
                  <a:lnTo>
                    <a:pt x="2" y="63"/>
                  </a:lnTo>
                  <a:lnTo>
                    <a:pt x="4" y="59"/>
                  </a:lnTo>
                  <a:lnTo>
                    <a:pt x="6" y="53"/>
                  </a:lnTo>
                  <a:lnTo>
                    <a:pt x="6" y="49"/>
                  </a:lnTo>
                  <a:lnTo>
                    <a:pt x="6" y="44"/>
                  </a:lnTo>
                  <a:lnTo>
                    <a:pt x="6" y="44"/>
                  </a:lnTo>
                  <a:lnTo>
                    <a:pt x="6" y="40"/>
                  </a:lnTo>
                  <a:lnTo>
                    <a:pt x="6" y="36"/>
                  </a:lnTo>
                  <a:lnTo>
                    <a:pt x="4" y="32"/>
                  </a:lnTo>
                  <a:lnTo>
                    <a:pt x="2" y="28"/>
                  </a:lnTo>
                  <a:lnTo>
                    <a:pt x="2" y="25"/>
                  </a:lnTo>
                  <a:lnTo>
                    <a:pt x="0" y="21"/>
                  </a:lnTo>
                  <a:lnTo>
                    <a:pt x="0" y="17"/>
                  </a:lnTo>
                  <a:lnTo>
                    <a:pt x="0" y="13"/>
                  </a:lnTo>
                  <a:lnTo>
                    <a:pt x="0" y="13"/>
                  </a:lnTo>
                  <a:lnTo>
                    <a:pt x="0" y="11"/>
                  </a:lnTo>
                  <a:lnTo>
                    <a:pt x="0" y="9"/>
                  </a:lnTo>
                  <a:lnTo>
                    <a:pt x="0" y="7"/>
                  </a:lnTo>
                  <a:lnTo>
                    <a:pt x="0" y="6"/>
                  </a:lnTo>
                  <a:lnTo>
                    <a:pt x="0" y="4"/>
                  </a:lnTo>
                  <a:lnTo>
                    <a:pt x="0" y="4"/>
                  </a:lnTo>
                  <a:lnTo>
                    <a:pt x="0" y="2"/>
                  </a:lnTo>
                  <a:lnTo>
                    <a:pt x="0" y="0"/>
                  </a:lnTo>
                  <a:lnTo>
                    <a:pt x="8" y="0"/>
                  </a:lnTo>
                  <a:lnTo>
                    <a:pt x="8" y="0"/>
                  </a:lnTo>
                  <a:lnTo>
                    <a:pt x="9" y="2"/>
                  </a:lnTo>
                  <a:lnTo>
                    <a:pt x="11" y="4"/>
                  </a:lnTo>
                  <a:lnTo>
                    <a:pt x="11" y="7"/>
                  </a:lnTo>
                  <a:lnTo>
                    <a:pt x="13" y="9"/>
                  </a:lnTo>
                  <a:lnTo>
                    <a:pt x="15" y="11"/>
                  </a:lnTo>
                  <a:lnTo>
                    <a:pt x="15" y="13"/>
                  </a:lnTo>
                  <a:lnTo>
                    <a:pt x="17" y="15"/>
                  </a:lnTo>
                  <a:lnTo>
                    <a:pt x="17" y="15"/>
                  </a:lnTo>
                </a:path>
              </a:pathLst>
            </a:custGeom>
            <a:solidFill>
              <a:srgbClr val="89BBF7"/>
            </a:solidFill>
            <a:ln w="9525" cmpd="sng">
              <a:solidFill>
                <a:srgbClr val="89BBF7"/>
              </a:solidFill>
              <a:prstDash val="solid"/>
              <a:round/>
              <a:headEnd/>
              <a:tailEnd/>
            </a:ln>
          </p:spPr>
          <p:txBody>
            <a:bodyPr/>
            <a:lstStyle/>
            <a:p>
              <a:endParaRPr lang="en-US"/>
            </a:p>
          </p:txBody>
        </p:sp>
        <p:sp>
          <p:nvSpPr>
            <p:cNvPr id="120" name="Freeform 63"/>
            <p:cNvSpPr>
              <a:spLocks/>
            </p:cNvSpPr>
            <p:nvPr/>
          </p:nvSpPr>
          <p:spPr bwMode="gray">
            <a:xfrm>
              <a:off x="3295" y="2517"/>
              <a:ext cx="30" cy="138"/>
            </a:xfrm>
            <a:custGeom>
              <a:avLst/>
              <a:gdLst/>
              <a:ahLst/>
              <a:cxnLst>
                <a:cxn ang="0">
                  <a:pos x="9" y="53"/>
                </a:cxn>
                <a:cxn ang="0">
                  <a:pos x="7" y="42"/>
                </a:cxn>
                <a:cxn ang="0">
                  <a:pos x="2" y="27"/>
                </a:cxn>
                <a:cxn ang="0">
                  <a:pos x="0" y="8"/>
                </a:cxn>
                <a:cxn ang="0">
                  <a:pos x="2" y="0"/>
                </a:cxn>
                <a:cxn ang="0">
                  <a:pos x="15" y="8"/>
                </a:cxn>
                <a:cxn ang="0">
                  <a:pos x="32" y="27"/>
                </a:cxn>
                <a:cxn ang="0">
                  <a:pos x="44" y="51"/>
                </a:cxn>
                <a:cxn ang="0">
                  <a:pos x="49" y="103"/>
                </a:cxn>
                <a:cxn ang="0">
                  <a:pos x="51" y="114"/>
                </a:cxn>
                <a:cxn ang="0">
                  <a:pos x="51" y="126"/>
                </a:cxn>
                <a:cxn ang="0">
                  <a:pos x="55" y="141"/>
                </a:cxn>
                <a:cxn ang="0">
                  <a:pos x="67" y="154"/>
                </a:cxn>
                <a:cxn ang="0">
                  <a:pos x="74" y="170"/>
                </a:cxn>
                <a:cxn ang="0">
                  <a:pos x="68" y="189"/>
                </a:cxn>
                <a:cxn ang="0">
                  <a:pos x="57" y="204"/>
                </a:cxn>
                <a:cxn ang="0">
                  <a:pos x="51" y="219"/>
                </a:cxn>
                <a:cxn ang="0">
                  <a:pos x="53" y="235"/>
                </a:cxn>
                <a:cxn ang="0">
                  <a:pos x="55" y="252"/>
                </a:cxn>
                <a:cxn ang="0">
                  <a:pos x="57" y="311"/>
                </a:cxn>
                <a:cxn ang="0">
                  <a:pos x="68" y="334"/>
                </a:cxn>
                <a:cxn ang="0">
                  <a:pos x="80" y="351"/>
                </a:cxn>
                <a:cxn ang="0">
                  <a:pos x="80" y="364"/>
                </a:cxn>
                <a:cxn ang="0">
                  <a:pos x="78" y="370"/>
                </a:cxn>
                <a:cxn ang="0">
                  <a:pos x="80" y="376"/>
                </a:cxn>
                <a:cxn ang="0">
                  <a:pos x="72" y="372"/>
                </a:cxn>
                <a:cxn ang="0">
                  <a:pos x="63" y="366"/>
                </a:cxn>
                <a:cxn ang="0">
                  <a:pos x="55" y="364"/>
                </a:cxn>
                <a:cxn ang="0">
                  <a:pos x="51" y="370"/>
                </a:cxn>
                <a:cxn ang="0">
                  <a:pos x="51" y="376"/>
                </a:cxn>
                <a:cxn ang="0">
                  <a:pos x="44" y="376"/>
                </a:cxn>
                <a:cxn ang="0">
                  <a:pos x="36" y="368"/>
                </a:cxn>
                <a:cxn ang="0">
                  <a:pos x="34" y="359"/>
                </a:cxn>
                <a:cxn ang="0">
                  <a:pos x="34" y="351"/>
                </a:cxn>
                <a:cxn ang="0">
                  <a:pos x="38" y="343"/>
                </a:cxn>
                <a:cxn ang="0">
                  <a:pos x="38" y="336"/>
                </a:cxn>
                <a:cxn ang="0">
                  <a:pos x="34" y="328"/>
                </a:cxn>
                <a:cxn ang="0">
                  <a:pos x="28" y="324"/>
                </a:cxn>
                <a:cxn ang="0">
                  <a:pos x="21" y="307"/>
                </a:cxn>
                <a:cxn ang="0">
                  <a:pos x="17" y="282"/>
                </a:cxn>
                <a:cxn ang="0">
                  <a:pos x="17" y="259"/>
                </a:cxn>
                <a:cxn ang="0">
                  <a:pos x="11" y="242"/>
                </a:cxn>
                <a:cxn ang="0">
                  <a:pos x="4" y="231"/>
                </a:cxn>
                <a:cxn ang="0">
                  <a:pos x="2" y="221"/>
                </a:cxn>
                <a:cxn ang="0">
                  <a:pos x="7" y="214"/>
                </a:cxn>
                <a:cxn ang="0">
                  <a:pos x="13" y="198"/>
                </a:cxn>
                <a:cxn ang="0">
                  <a:pos x="19" y="181"/>
                </a:cxn>
                <a:cxn ang="0">
                  <a:pos x="23" y="166"/>
                </a:cxn>
                <a:cxn ang="0">
                  <a:pos x="26" y="156"/>
                </a:cxn>
                <a:cxn ang="0">
                  <a:pos x="21" y="67"/>
                </a:cxn>
                <a:cxn ang="0">
                  <a:pos x="17" y="61"/>
                </a:cxn>
                <a:cxn ang="0">
                  <a:pos x="11" y="57"/>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solidFill>
              <a:srgbClr val="FFFFCC"/>
            </a:solidFill>
            <a:ln w="9525" cmpd="sng">
              <a:solidFill>
                <a:schemeClr val="folHlink"/>
              </a:solidFill>
              <a:round/>
              <a:headEnd/>
              <a:tailEnd/>
            </a:ln>
          </p:spPr>
          <p:txBody>
            <a:bodyPr/>
            <a:lstStyle/>
            <a:p>
              <a:endParaRPr lang="en-US"/>
            </a:p>
          </p:txBody>
        </p:sp>
        <p:sp>
          <p:nvSpPr>
            <p:cNvPr id="121" name="Freeform 64"/>
            <p:cNvSpPr>
              <a:spLocks/>
            </p:cNvSpPr>
            <p:nvPr/>
          </p:nvSpPr>
          <p:spPr bwMode="gray">
            <a:xfrm>
              <a:off x="3295" y="2517"/>
              <a:ext cx="30" cy="138"/>
            </a:xfrm>
            <a:custGeom>
              <a:avLst/>
              <a:gdLst/>
              <a:ahLst/>
              <a:cxnLst>
                <a:cxn ang="0">
                  <a:pos x="11" y="55"/>
                </a:cxn>
                <a:cxn ang="0">
                  <a:pos x="9" y="48"/>
                </a:cxn>
                <a:cxn ang="0">
                  <a:pos x="5" y="36"/>
                </a:cxn>
                <a:cxn ang="0">
                  <a:pos x="0" y="21"/>
                </a:cxn>
                <a:cxn ang="0">
                  <a:pos x="0" y="0"/>
                </a:cxn>
                <a:cxn ang="0">
                  <a:pos x="2" y="0"/>
                </a:cxn>
                <a:cxn ang="0">
                  <a:pos x="5" y="0"/>
                </a:cxn>
                <a:cxn ang="0">
                  <a:pos x="28" y="21"/>
                </a:cxn>
                <a:cxn ang="0">
                  <a:pos x="40" y="42"/>
                </a:cxn>
                <a:cxn ang="0">
                  <a:pos x="47" y="99"/>
                </a:cxn>
                <a:cxn ang="0">
                  <a:pos x="51" y="107"/>
                </a:cxn>
                <a:cxn ang="0">
                  <a:pos x="51" y="118"/>
                </a:cxn>
                <a:cxn ang="0">
                  <a:pos x="51" y="130"/>
                </a:cxn>
                <a:cxn ang="0">
                  <a:pos x="55" y="141"/>
                </a:cxn>
                <a:cxn ang="0">
                  <a:pos x="67" y="154"/>
                </a:cxn>
                <a:cxn ang="0">
                  <a:pos x="74" y="170"/>
                </a:cxn>
                <a:cxn ang="0">
                  <a:pos x="70" y="183"/>
                </a:cxn>
                <a:cxn ang="0">
                  <a:pos x="61" y="198"/>
                </a:cxn>
                <a:cxn ang="0">
                  <a:pos x="53" y="212"/>
                </a:cxn>
                <a:cxn ang="0">
                  <a:pos x="51" y="223"/>
                </a:cxn>
                <a:cxn ang="0">
                  <a:pos x="53" y="240"/>
                </a:cxn>
                <a:cxn ang="0">
                  <a:pos x="55" y="257"/>
                </a:cxn>
                <a:cxn ang="0">
                  <a:pos x="57" y="311"/>
                </a:cxn>
                <a:cxn ang="0">
                  <a:pos x="68" y="334"/>
                </a:cxn>
                <a:cxn ang="0">
                  <a:pos x="80" y="351"/>
                </a:cxn>
                <a:cxn ang="0">
                  <a:pos x="80" y="362"/>
                </a:cxn>
                <a:cxn ang="0">
                  <a:pos x="78" y="368"/>
                </a:cxn>
                <a:cxn ang="0">
                  <a:pos x="78" y="374"/>
                </a:cxn>
                <a:cxn ang="0">
                  <a:pos x="78" y="376"/>
                </a:cxn>
                <a:cxn ang="0">
                  <a:pos x="68" y="370"/>
                </a:cxn>
                <a:cxn ang="0">
                  <a:pos x="61" y="364"/>
                </a:cxn>
                <a:cxn ang="0">
                  <a:pos x="55" y="364"/>
                </a:cxn>
                <a:cxn ang="0">
                  <a:pos x="51" y="370"/>
                </a:cxn>
                <a:cxn ang="0">
                  <a:pos x="51" y="376"/>
                </a:cxn>
                <a:cxn ang="0">
                  <a:pos x="47" y="378"/>
                </a:cxn>
                <a:cxn ang="0">
                  <a:pos x="38" y="372"/>
                </a:cxn>
                <a:cxn ang="0">
                  <a:pos x="34" y="362"/>
                </a:cxn>
                <a:cxn ang="0">
                  <a:pos x="34" y="355"/>
                </a:cxn>
                <a:cxn ang="0">
                  <a:pos x="36" y="347"/>
                </a:cxn>
                <a:cxn ang="0">
                  <a:pos x="38" y="341"/>
                </a:cxn>
                <a:cxn ang="0">
                  <a:pos x="38" y="336"/>
                </a:cxn>
                <a:cxn ang="0">
                  <a:pos x="34" y="328"/>
                </a:cxn>
                <a:cxn ang="0">
                  <a:pos x="28" y="324"/>
                </a:cxn>
                <a:cxn ang="0">
                  <a:pos x="25" y="315"/>
                </a:cxn>
                <a:cxn ang="0">
                  <a:pos x="19" y="292"/>
                </a:cxn>
                <a:cxn ang="0">
                  <a:pos x="17" y="267"/>
                </a:cxn>
                <a:cxn ang="0">
                  <a:pos x="17" y="252"/>
                </a:cxn>
                <a:cxn ang="0">
                  <a:pos x="9" y="238"/>
                </a:cxn>
                <a:cxn ang="0">
                  <a:pos x="2" y="227"/>
                </a:cxn>
                <a:cxn ang="0">
                  <a:pos x="2" y="221"/>
                </a:cxn>
                <a:cxn ang="0">
                  <a:pos x="7" y="214"/>
                </a:cxn>
                <a:cxn ang="0">
                  <a:pos x="13" y="198"/>
                </a:cxn>
                <a:cxn ang="0">
                  <a:pos x="19" y="181"/>
                </a:cxn>
                <a:cxn ang="0">
                  <a:pos x="23" y="166"/>
                </a:cxn>
                <a:cxn ang="0">
                  <a:pos x="26" y="156"/>
                </a:cxn>
                <a:cxn ang="0">
                  <a:pos x="23" y="69"/>
                </a:cxn>
                <a:cxn ang="0">
                  <a:pos x="19" y="63"/>
                </a:cxn>
                <a:cxn ang="0">
                  <a:pos x="13" y="57"/>
                </a:cxn>
              </a:cxnLst>
              <a:rect l="0" t="0" r="r" b="b"/>
              <a:pathLst>
                <a:path w="80" h="378">
                  <a:moveTo>
                    <a:pt x="11" y="57"/>
                  </a:moveTo>
                  <a:lnTo>
                    <a:pt x="11" y="57"/>
                  </a:lnTo>
                  <a:lnTo>
                    <a:pt x="11" y="55"/>
                  </a:lnTo>
                  <a:lnTo>
                    <a:pt x="9" y="53"/>
                  </a:lnTo>
                  <a:lnTo>
                    <a:pt x="9" y="50"/>
                  </a:lnTo>
                  <a:lnTo>
                    <a:pt x="9" y="48"/>
                  </a:lnTo>
                  <a:lnTo>
                    <a:pt x="9" y="48"/>
                  </a:lnTo>
                  <a:lnTo>
                    <a:pt x="7" y="42"/>
                  </a:lnTo>
                  <a:lnTo>
                    <a:pt x="5" y="36"/>
                  </a:lnTo>
                  <a:lnTo>
                    <a:pt x="4" y="32"/>
                  </a:lnTo>
                  <a:lnTo>
                    <a:pt x="2" y="27"/>
                  </a:lnTo>
                  <a:lnTo>
                    <a:pt x="0" y="21"/>
                  </a:lnTo>
                  <a:lnTo>
                    <a:pt x="0" y="15"/>
                  </a:lnTo>
                  <a:lnTo>
                    <a:pt x="0" y="8"/>
                  </a:lnTo>
                  <a:lnTo>
                    <a:pt x="0" y="0"/>
                  </a:lnTo>
                  <a:lnTo>
                    <a:pt x="0" y="0"/>
                  </a:lnTo>
                  <a:lnTo>
                    <a:pt x="0" y="0"/>
                  </a:lnTo>
                  <a:lnTo>
                    <a:pt x="2" y="0"/>
                  </a:lnTo>
                  <a:lnTo>
                    <a:pt x="4" y="0"/>
                  </a:lnTo>
                  <a:lnTo>
                    <a:pt x="5" y="0"/>
                  </a:lnTo>
                  <a:lnTo>
                    <a:pt x="5" y="0"/>
                  </a:lnTo>
                  <a:lnTo>
                    <a:pt x="15" y="8"/>
                  </a:lnTo>
                  <a:lnTo>
                    <a:pt x="23" y="13"/>
                  </a:lnTo>
                  <a:lnTo>
                    <a:pt x="28" y="21"/>
                  </a:lnTo>
                  <a:lnTo>
                    <a:pt x="32" y="27"/>
                  </a:lnTo>
                  <a:lnTo>
                    <a:pt x="36" y="34"/>
                  </a:lnTo>
                  <a:lnTo>
                    <a:pt x="40" y="42"/>
                  </a:lnTo>
                  <a:lnTo>
                    <a:pt x="44" y="51"/>
                  </a:lnTo>
                  <a:lnTo>
                    <a:pt x="47" y="61"/>
                  </a:lnTo>
                  <a:lnTo>
                    <a:pt x="47" y="99"/>
                  </a:lnTo>
                  <a:lnTo>
                    <a:pt x="47" y="99"/>
                  </a:lnTo>
                  <a:lnTo>
                    <a:pt x="49" y="103"/>
                  </a:lnTo>
                  <a:lnTo>
                    <a:pt x="51" y="107"/>
                  </a:lnTo>
                  <a:lnTo>
                    <a:pt x="51" y="111"/>
                  </a:lnTo>
                  <a:lnTo>
                    <a:pt x="51" y="114"/>
                  </a:lnTo>
                  <a:lnTo>
                    <a:pt x="51" y="118"/>
                  </a:lnTo>
                  <a:lnTo>
                    <a:pt x="51" y="122"/>
                  </a:lnTo>
                  <a:lnTo>
                    <a:pt x="51" y="126"/>
                  </a:lnTo>
                  <a:lnTo>
                    <a:pt x="51" y="130"/>
                  </a:lnTo>
                  <a:lnTo>
                    <a:pt x="51" y="130"/>
                  </a:lnTo>
                  <a:lnTo>
                    <a:pt x="53" y="135"/>
                  </a:lnTo>
                  <a:lnTo>
                    <a:pt x="55" y="141"/>
                  </a:lnTo>
                  <a:lnTo>
                    <a:pt x="59" y="145"/>
                  </a:lnTo>
                  <a:lnTo>
                    <a:pt x="63" y="151"/>
                  </a:lnTo>
                  <a:lnTo>
                    <a:pt x="67" y="154"/>
                  </a:lnTo>
                  <a:lnTo>
                    <a:pt x="70" y="158"/>
                  </a:lnTo>
                  <a:lnTo>
                    <a:pt x="72" y="164"/>
                  </a:lnTo>
                  <a:lnTo>
                    <a:pt x="74" y="170"/>
                  </a:lnTo>
                  <a:lnTo>
                    <a:pt x="74" y="170"/>
                  </a:lnTo>
                  <a:lnTo>
                    <a:pt x="72" y="177"/>
                  </a:lnTo>
                  <a:lnTo>
                    <a:pt x="70" y="183"/>
                  </a:lnTo>
                  <a:lnTo>
                    <a:pt x="68" y="189"/>
                  </a:lnTo>
                  <a:lnTo>
                    <a:pt x="65" y="195"/>
                  </a:lnTo>
                  <a:lnTo>
                    <a:pt x="61" y="198"/>
                  </a:lnTo>
                  <a:lnTo>
                    <a:pt x="57" y="204"/>
                  </a:lnTo>
                  <a:lnTo>
                    <a:pt x="55" y="208"/>
                  </a:lnTo>
                  <a:lnTo>
                    <a:pt x="53" y="212"/>
                  </a:lnTo>
                  <a:lnTo>
                    <a:pt x="53" y="212"/>
                  </a:lnTo>
                  <a:lnTo>
                    <a:pt x="51" y="219"/>
                  </a:lnTo>
                  <a:lnTo>
                    <a:pt x="51" y="223"/>
                  </a:lnTo>
                  <a:lnTo>
                    <a:pt x="51" y="229"/>
                  </a:lnTo>
                  <a:lnTo>
                    <a:pt x="53" y="235"/>
                  </a:lnTo>
                  <a:lnTo>
                    <a:pt x="53" y="240"/>
                  </a:lnTo>
                  <a:lnTo>
                    <a:pt x="55" y="246"/>
                  </a:lnTo>
                  <a:lnTo>
                    <a:pt x="55" y="252"/>
                  </a:lnTo>
                  <a:lnTo>
                    <a:pt x="55" y="257"/>
                  </a:lnTo>
                  <a:lnTo>
                    <a:pt x="55" y="301"/>
                  </a:lnTo>
                  <a:lnTo>
                    <a:pt x="55" y="301"/>
                  </a:lnTo>
                  <a:lnTo>
                    <a:pt x="57" y="311"/>
                  </a:lnTo>
                  <a:lnTo>
                    <a:pt x="59" y="320"/>
                  </a:lnTo>
                  <a:lnTo>
                    <a:pt x="63" y="328"/>
                  </a:lnTo>
                  <a:lnTo>
                    <a:pt x="68" y="334"/>
                  </a:lnTo>
                  <a:lnTo>
                    <a:pt x="72" y="340"/>
                  </a:lnTo>
                  <a:lnTo>
                    <a:pt x="76" y="345"/>
                  </a:lnTo>
                  <a:lnTo>
                    <a:pt x="80" y="351"/>
                  </a:lnTo>
                  <a:lnTo>
                    <a:pt x="80" y="359"/>
                  </a:lnTo>
                  <a:lnTo>
                    <a:pt x="80" y="359"/>
                  </a:lnTo>
                  <a:lnTo>
                    <a:pt x="80" y="362"/>
                  </a:lnTo>
                  <a:lnTo>
                    <a:pt x="80" y="364"/>
                  </a:lnTo>
                  <a:lnTo>
                    <a:pt x="78" y="366"/>
                  </a:lnTo>
                  <a:lnTo>
                    <a:pt x="78" y="368"/>
                  </a:lnTo>
                  <a:lnTo>
                    <a:pt x="78" y="370"/>
                  </a:lnTo>
                  <a:lnTo>
                    <a:pt x="78" y="372"/>
                  </a:lnTo>
                  <a:lnTo>
                    <a:pt x="78" y="374"/>
                  </a:lnTo>
                  <a:lnTo>
                    <a:pt x="80" y="376"/>
                  </a:lnTo>
                  <a:lnTo>
                    <a:pt x="80" y="376"/>
                  </a:lnTo>
                  <a:lnTo>
                    <a:pt x="78" y="376"/>
                  </a:lnTo>
                  <a:lnTo>
                    <a:pt x="74" y="374"/>
                  </a:lnTo>
                  <a:lnTo>
                    <a:pt x="72" y="372"/>
                  </a:lnTo>
                  <a:lnTo>
                    <a:pt x="68" y="370"/>
                  </a:lnTo>
                  <a:lnTo>
                    <a:pt x="67" y="368"/>
                  </a:lnTo>
                  <a:lnTo>
                    <a:pt x="63" y="366"/>
                  </a:lnTo>
                  <a:lnTo>
                    <a:pt x="61" y="364"/>
                  </a:lnTo>
                  <a:lnTo>
                    <a:pt x="57" y="362"/>
                  </a:lnTo>
                  <a:lnTo>
                    <a:pt x="57" y="362"/>
                  </a:lnTo>
                  <a:lnTo>
                    <a:pt x="55" y="364"/>
                  </a:lnTo>
                  <a:lnTo>
                    <a:pt x="53" y="366"/>
                  </a:lnTo>
                  <a:lnTo>
                    <a:pt x="53" y="368"/>
                  </a:lnTo>
                  <a:lnTo>
                    <a:pt x="51" y="370"/>
                  </a:lnTo>
                  <a:lnTo>
                    <a:pt x="51" y="372"/>
                  </a:lnTo>
                  <a:lnTo>
                    <a:pt x="51" y="374"/>
                  </a:lnTo>
                  <a:lnTo>
                    <a:pt x="51" y="376"/>
                  </a:lnTo>
                  <a:lnTo>
                    <a:pt x="51" y="378"/>
                  </a:lnTo>
                  <a:lnTo>
                    <a:pt x="51" y="378"/>
                  </a:lnTo>
                  <a:lnTo>
                    <a:pt x="47" y="378"/>
                  </a:lnTo>
                  <a:lnTo>
                    <a:pt x="44" y="376"/>
                  </a:lnTo>
                  <a:lnTo>
                    <a:pt x="42" y="374"/>
                  </a:lnTo>
                  <a:lnTo>
                    <a:pt x="38" y="372"/>
                  </a:lnTo>
                  <a:lnTo>
                    <a:pt x="36" y="368"/>
                  </a:lnTo>
                  <a:lnTo>
                    <a:pt x="34" y="364"/>
                  </a:lnTo>
                  <a:lnTo>
                    <a:pt x="34" y="362"/>
                  </a:lnTo>
                  <a:lnTo>
                    <a:pt x="34" y="359"/>
                  </a:lnTo>
                  <a:lnTo>
                    <a:pt x="34" y="359"/>
                  </a:lnTo>
                  <a:lnTo>
                    <a:pt x="34" y="355"/>
                  </a:lnTo>
                  <a:lnTo>
                    <a:pt x="34" y="353"/>
                  </a:lnTo>
                  <a:lnTo>
                    <a:pt x="34" y="351"/>
                  </a:lnTo>
                  <a:lnTo>
                    <a:pt x="36" y="347"/>
                  </a:lnTo>
                  <a:lnTo>
                    <a:pt x="36" y="345"/>
                  </a:lnTo>
                  <a:lnTo>
                    <a:pt x="38" y="343"/>
                  </a:lnTo>
                  <a:lnTo>
                    <a:pt x="38" y="341"/>
                  </a:lnTo>
                  <a:lnTo>
                    <a:pt x="38" y="340"/>
                  </a:lnTo>
                  <a:lnTo>
                    <a:pt x="38" y="340"/>
                  </a:lnTo>
                  <a:lnTo>
                    <a:pt x="38" y="336"/>
                  </a:lnTo>
                  <a:lnTo>
                    <a:pt x="36" y="332"/>
                  </a:lnTo>
                  <a:lnTo>
                    <a:pt x="36" y="330"/>
                  </a:lnTo>
                  <a:lnTo>
                    <a:pt x="34" y="328"/>
                  </a:lnTo>
                  <a:lnTo>
                    <a:pt x="32" y="328"/>
                  </a:lnTo>
                  <a:lnTo>
                    <a:pt x="30" y="326"/>
                  </a:lnTo>
                  <a:lnTo>
                    <a:pt x="28" y="324"/>
                  </a:lnTo>
                  <a:lnTo>
                    <a:pt x="26" y="322"/>
                  </a:lnTo>
                  <a:lnTo>
                    <a:pt x="26" y="322"/>
                  </a:lnTo>
                  <a:lnTo>
                    <a:pt x="25" y="315"/>
                  </a:lnTo>
                  <a:lnTo>
                    <a:pt x="21" y="307"/>
                  </a:lnTo>
                  <a:lnTo>
                    <a:pt x="19" y="299"/>
                  </a:lnTo>
                  <a:lnTo>
                    <a:pt x="19" y="292"/>
                  </a:lnTo>
                  <a:lnTo>
                    <a:pt x="17" y="282"/>
                  </a:lnTo>
                  <a:lnTo>
                    <a:pt x="17" y="275"/>
                  </a:lnTo>
                  <a:lnTo>
                    <a:pt x="17" y="267"/>
                  </a:lnTo>
                  <a:lnTo>
                    <a:pt x="17" y="259"/>
                  </a:lnTo>
                  <a:lnTo>
                    <a:pt x="17" y="259"/>
                  </a:lnTo>
                  <a:lnTo>
                    <a:pt x="17" y="252"/>
                  </a:lnTo>
                  <a:lnTo>
                    <a:pt x="15" y="248"/>
                  </a:lnTo>
                  <a:lnTo>
                    <a:pt x="11" y="242"/>
                  </a:lnTo>
                  <a:lnTo>
                    <a:pt x="9" y="238"/>
                  </a:lnTo>
                  <a:lnTo>
                    <a:pt x="5" y="235"/>
                  </a:lnTo>
                  <a:lnTo>
                    <a:pt x="4" y="231"/>
                  </a:lnTo>
                  <a:lnTo>
                    <a:pt x="2" y="227"/>
                  </a:lnTo>
                  <a:lnTo>
                    <a:pt x="0" y="221"/>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6" y="71"/>
                  </a:lnTo>
                  <a:lnTo>
                    <a:pt x="23" y="69"/>
                  </a:lnTo>
                  <a:lnTo>
                    <a:pt x="21" y="67"/>
                  </a:lnTo>
                  <a:lnTo>
                    <a:pt x="19" y="65"/>
                  </a:lnTo>
                  <a:lnTo>
                    <a:pt x="19" y="63"/>
                  </a:lnTo>
                  <a:lnTo>
                    <a:pt x="17" y="61"/>
                  </a:lnTo>
                  <a:lnTo>
                    <a:pt x="15" y="59"/>
                  </a:lnTo>
                  <a:lnTo>
                    <a:pt x="13" y="57"/>
                  </a:lnTo>
                  <a:lnTo>
                    <a:pt x="11" y="57"/>
                  </a:lnTo>
                </a:path>
              </a:pathLst>
            </a:custGeom>
            <a:solidFill>
              <a:srgbClr val="89BBF7"/>
            </a:solidFill>
            <a:ln w="9525" cmpd="sng">
              <a:solidFill>
                <a:srgbClr val="89BBF7"/>
              </a:solidFill>
              <a:prstDash val="solid"/>
              <a:round/>
              <a:headEnd/>
              <a:tailEnd/>
            </a:ln>
          </p:spPr>
          <p:txBody>
            <a:bodyPr/>
            <a:lstStyle/>
            <a:p>
              <a:endParaRPr lang="en-US"/>
            </a:p>
          </p:txBody>
        </p:sp>
        <p:sp>
          <p:nvSpPr>
            <p:cNvPr id="122" name="Freeform 65"/>
            <p:cNvSpPr>
              <a:spLocks/>
            </p:cNvSpPr>
            <p:nvPr/>
          </p:nvSpPr>
          <p:spPr bwMode="gray">
            <a:xfrm>
              <a:off x="3233" y="2228"/>
              <a:ext cx="91" cy="88"/>
            </a:xfrm>
            <a:custGeom>
              <a:avLst/>
              <a:gdLst/>
              <a:ahLst/>
              <a:cxnLst>
                <a:cxn ang="0">
                  <a:pos x="181" y="105"/>
                </a:cxn>
                <a:cxn ang="0">
                  <a:pos x="187" y="79"/>
                </a:cxn>
                <a:cxn ang="0">
                  <a:pos x="204" y="61"/>
                </a:cxn>
                <a:cxn ang="0">
                  <a:pos x="225" y="60"/>
                </a:cxn>
                <a:cxn ang="0">
                  <a:pos x="234" y="44"/>
                </a:cxn>
                <a:cxn ang="0">
                  <a:pos x="208" y="44"/>
                </a:cxn>
                <a:cxn ang="0">
                  <a:pos x="175" y="39"/>
                </a:cxn>
                <a:cxn ang="0">
                  <a:pos x="160" y="19"/>
                </a:cxn>
                <a:cxn ang="0">
                  <a:pos x="152" y="0"/>
                </a:cxn>
                <a:cxn ang="0">
                  <a:pos x="141" y="0"/>
                </a:cxn>
                <a:cxn ang="0">
                  <a:pos x="133" y="16"/>
                </a:cxn>
                <a:cxn ang="0">
                  <a:pos x="120" y="21"/>
                </a:cxn>
                <a:cxn ang="0">
                  <a:pos x="110" y="16"/>
                </a:cxn>
                <a:cxn ang="0">
                  <a:pos x="105" y="23"/>
                </a:cxn>
                <a:cxn ang="0">
                  <a:pos x="93" y="25"/>
                </a:cxn>
                <a:cxn ang="0">
                  <a:pos x="82" y="23"/>
                </a:cxn>
                <a:cxn ang="0">
                  <a:pos x="72" y="29"/>
                </a:cxn>
                <a:cxn ang="0">
                  <a:pos x="65" y="33"/>
                </a:cxn>
                <a:cxn ang="0">
                  <a:pos x="57" y="35"/>
                </a:cxn>
                <a:cxn ang="0">
                  <a:pos x="34" y="44"/>
                </a:cxn>
                <a:cxn ang="0">
                  <a:pos x="21" y="56"/>
                </a:cxn>
                <a:cxn ang="0">
                  <a:pos x="19" y="69"/>
                </a:cxn>
                <a:cxn ang="0">
                  <a:pos x="11" y="79"/>
                </a:cxn>
                <a:cxn ang="0">
                  <a:pos x="4" y="86"/>
                </a:cxn>
                <a:cxn ang="0">
                  <a:pos x="2" y="102"/>
                </a:cxn>
                <a:cxn ang="0">
                  <a:pos x="11" y="113"/>
                </a:cxn>
                <a:cxn ang="0">
                  <a:pos x="15" y="136"/>
                </a:cxn>
                <a:cxn ang="0">
                  <a:pos x="4" y="163"/>
                </a:cxn>
                <a:cxn ang="0">
                  <a:pos x="0" y="187"/>
                </a:cxn>
                <a:cxn ang="0">
                  <a:pos x="0" y="203"/>
                </a:cxn>
                <a:cxn ang="0">
                  <a:pos x="5" y="212"/>
                </a:cxn>
                <a:cxn ang="0">
                  <a:pos x="13" y="220"/>
                </a:cxn>
                <a:cxn ang="0">
                  <a:pos x="9" y="229"/>
                </a:cxn>
                <a:cxn ang="0">
                  <a:pos x="9" y="239"/>
                </a:cxn>
                <a:cxn ang="0">
                  <a:pos x="17" y="239"/>
                </a:cxn>
                <a:cxn ang="0">
                  <a:pos x="30" y="222"/>
                </a:cxn>
                <a:cxn ang="0">
                  <a:pos x="49" y="218"/>
                </a:cxn>
                <a:cxn ang="0">
                  <a:pos x="70" y="229"/>
                </a:cxn>
                <a:cxn ang="0">
                  <a:pos x="86" y="235"/>
                </a:cxn>
                <a:cxn ang="0">
                  <a:pos x="93" y="227"/>
                </a:cxn>
                <a:cxn ang="0">
                  <a:pos x="107" y="224"/>
                </a:cxn>
                <a:cxn ang="0">
                  <a:pos x="114" y="227"/>
                </a:cxn>
                <a:cxn ang="0">
                  <a:pos x="122" y="231"/>
                </a:cxn>
                <a:cxn ang="0">
                  <a:pos x="135" y="233"/>
                </a:cxn>
                <a:cxn ang="0">
                  <a:pos x="149" y="218"/>
                </a:cxn>
                <a:cxn ang="0">
                  <a:pos x="110" y="201"/>
                </a:cxn>
                <a:cxn ang="0">
                  <a:pos x="126" y="187"/>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solidFill>
              <a:srgbClr val="FFFFCC"/>
            </a:solidFill>
            <a:ln w="9525" cmpd="sng">
              <a:solidFill>
                <a:schemeClr val="folHlink"/>
              </a:solidFill>
              <a:round/>
              <a:headEnd/>
              <a:tailEnd/>
            </a:ln>
          </p:spPr>
          <p:txBody>
            <a:bodyPr/>
            <a:lstStyle/>
            <a:p>
              <a:endParaRPr lang="en-US"/>
            </a:p>
          </p:txBody>
        </p:sp>
        <p:sp>
          <p:nvSpPr>
            <p:cNvPr id="123" name="Freeform 66"/>
            <p:cNvSpPr>
              <a:spLocks/>
            </p:cNvSpPr>
            <p:nvPr/>
          </p:nvSpPr>
          <p:spPr bwMode="gray">
            <a:xfrm>
              <a:off x="3233" y="2228"/>
              <a:ext cx="91" cy="88"/>
            </a:xfrm>
            <a:custGeom>
              <a:avLst/>
              <a:gdLst/>
              <a:ahLst/>
              <a:cxnLst>
                <a:cxn ang="0">
                  <a:pos x="179" y="107"/>
                </a:cxn>
                <a:cxn ang="0">
                  <a:pos x="187" y="86"/>
                </a:cxn>
                <a:cxn ang="0">
                  <a:pos x="198" y="63"/>
                </a:cxn>
                <a:cxn ang="0">
                  <a:pos x="215" y="60"/>
                </a:cxn>
                <a:cxn ang="0">
                  <a:pos x="234" y="54"/>
                </a:cxn>
                <a:cxn ang="0">
                  <a:pos x="229" y="44"/>
                </a:cxn>
                <a:cxn ang="0">
                  <a:pos x="200" y="44"/>
                </a:cxn>
                <a:cxn ang="0">
                  <a:pos x="175" y="39"/>
                </a:cxn>
                <a:cxn ang="0">
                  <a:pos x="160" y="19"/>
                </a:cxn>
                <a:cxn ang="0">
                  <a:pos x="154" y="0"/>
                </a:cxn>
                <a:cxn ang="0">
                  <a:pos x="145" y="0"/>
                </a:cxn>
                <a:cxn ang="0">
                  <a:pos x="137" y="8"/>
                </a:cxn>
                <a:cxn ang="0">
                  <a:pos x="128" y="21"/>
                </a:cxn>
                <a:cxn ang="0">
                  <a:pos x="118" y="19"/>
                </a:cxn>
                <a:cxn ang="0">
                  <a:pos x="110" y="16"/>
                </a:cxn>
                <a:cxn ang="0">
                  <a:pos x="105" y="23"/>
                </a:cxn>
                <a:cxn ang="0">
                  <a:pos x="97" y="27"/>
                </a:cxn>
                <a:cxn ang="0">
                  <a:pos x="86" y="21"/>
                </a:cxn>
                <a:cxn ang="0">
                  <a:pos x="78" y="25"/>
                </a:cxn>
                <a:cxn ang="0">
                  <a:pos x="68" y="33"/>
                </a:cxn>
                <a:cxn ang="0">
                  <a:pos x="63" y="35"/>
                </a:cxn>
                <a:cxn ang="0">
                  <a:pos x="57" y="35"/>
                </a:cxn>
                <a:cxn ang="0">
                  <a:pos x="34" y="44"/>
                </a:cxn>
                <a:cxn ang="0">
                  <a:pos x="21" y="52"/>
                </a:cxn>
                <a:cxn ang="0">
                  <a:pos x="19" y="65"/>
                </a:cxn>
                <a:cxn ang="0">
                  <a:pos x="13" y="77"/>
                </a:cxn>
                <a:cxn ang="0">
                  <a:pos x="7" y="81"/>
                </a:cxn>
                <a:cxn ang="0">
                  <a:pos x="2" y="92"/>
                </a:cxn>
                <a:cxn ang="0">
                  <a:pos x="4" y="105"/>
                </a:cxn>
                <a:cxn ang="0">
                  <a:pos x="13" y="117"/>
                </a:cxn>
                <a:cxn ang="0">
                  <a:pos x="15" y="136"/>
                </a:cxn>
                <a:cxn ang="0">
                  <a:pos x="4" y="163"/>
                </a:cxn>
                <a:cxn ang="0">
                  <a:pos x="0" y="185"/>
                </a:cxn>
                <a:cxn ang="0">
                  <a:pos x="0" y="199"/>
                </a:cxn>
                <a:cxn ang="0">
                  <a:pos x="2" y="210"/>
                </a:cxn>
                <a:cxn ang="0">
                  <a:pos x="13" y="212"/>
                </a:cxn>
                <a:cxn ang="0">
                  <a:pos x="13" y="222"/>
                </a:cxn>
                <a:cxn ang="0">
                  <a:pos x="9" y="231"/>
                </a:cxn>
                <a:cxn ang="0">
                  <a:pos x="9" y="239"/>
                </a:cxn>
                <a:cxn ang="0">
                  <a:pos x="13" y="243"/>
                </a:cxn>
                <a:cxn ang="0">
                  <a:pos x="26" y="226"/>
                </a:cxn>
                <a:cxn ang="0">
                  <a:pos x="44" y="216"/>
                </a:cxn>
                <a:cxn ang="0">
                  <a:pos x="59" y="222"/>
                </a:cxn>
                <a:cxn ang="0">
                  <a:pos x="80" y="233"/>
                </a:cxn>
                <a:cxn ang="0">
                  <a:pos x="87" y="233"/>
                </a:cxn>
                <a:cxn ang="0">
                  <a:pos x="97" y="226"/>
                </a:cxn>
                <a:cxn ang="0">
                  <a:pos x="107" y="224"/>
                </a:cxn>
                <a:cxn ang="0">
                  <a:pos x="114" y="227"/>
                </a:cxn>
                <a:cxn ang="0">
                  <a:pos x="122" y="229"/>
                </a:cxn>
                <a:cxn ang="0">
                  <a:pos x="131" y="237"/>
                </a:cxn>
                <a:cxn ang="0">
                  <a:pos x="141" y="226"/>
                </a:cxn>
                <a:cxn ang="0">
                  <a:pos x="156" y="206"/>
                </a:cxn>
                <a:cxn ang="0">
                  <a:pos x="112" y="197"/>
                </a:cxn>
                <a:cxn ang="0">
                  <a:pos x="129" y="184"/>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79" y="107"/>
                  </a:lnTo>
                  <a:lnTo>
                    <a:pt x="181" y="105"/>
                  </a:lnTo>
                  <a:lnTo>
                    <a:pt x="183" y="100"/>
                  </a:lnTo>
                  <a:lnTo>
                    <a:pt x="185" y="94"/>
                  </a:lnTo>
                  <a:lnTo>
                    <a:pt x="187" y="86"/>
                  </a:lnTo>
                  <a:lnTo>
                    <a:pt x="187" y="79"/>
                  </a:lnTo>
                  <a:lnTo>
                    <a:pt x="189" y="73"/>
                  </a:lnTo>
                  <a:lnTo>
                    <a:pt x="192" y="67"/>
                  </a:lnTo>
                  <a:lnTo>
                    <a:pt x="198" y="63"/>
                  </a:lnTo>
                  <a:lnTo>
                    <a:pt x="198" y="63"/>
                  </a:lnTo>
                  <a:lnTo>
                    <a:pt x="204" y="61"/>
                  </a:lnTo>
                  <a:lnTo>
                    <a:pt x="210" y="61"/>
                  </a:lnTo>
                  <a:lnTo>
                    <a:pt x="215" y="60"/>
                  </a:lnTo>
                  <a:lnTo>
                    <a:pt x="221" y="60"/>
                  </a:lnTo>
                  <a:lnTo>
                    <a:pt x="225" y="60"/>
                  </a:lnTo>
                  <a:lnTo>
                    <a:pt x="231" y="58"/>
                  </a:lnTo>
                  <a:lnTo>
                    <a:pt x="234" y="54"/>
                  </a:lnTo>
                  <a:lnTo>
                    <a:pt x="240" y="50"/>
                  </a:lnTo>
                  <a:lnTo>
                    <a:pt x="240" y="50"/>
                  </a:lnTo>
                  <a:lnTo>
                    <a:pt x="234" y="44"/>
                  </a:lnTo>
                  <a:lnTo>
                    <a:pt x="229" y="44"/>
                  </a:lnTo>
                  <a:lnTo>
                    <a:pt x="223" y="42"/>
                  </a:lnTo>
                  <a:lnTo>
                    <a:pt x="215" y="44"/>
                  </a:lnTo>
                  <a:lnTo>
                    <a:pt x="208" y="44"/>
                  </a:lnTo>
                  <a:lnTo>
                    <a:pt x="200" y="44"/>
                  </a:lnTo>
                  <a:lnTo>
                    <a:pt x="190" y="42"/>
                  </a:lnTo>
                  <a:lnTo>
                    <a:pt x="179" y="40"/>
                  </a:lnTo>
                  <a:lnTo>
                    <a:pt x="179" y="40"/>
                  </a:lnTo>
                  <a:lnTo>
                    <a:pt x="175" y="39"/>
                  </a:lnTo>
                  <a:lnTo>
                    <a:pt x="171" y="35"/>
                  </a:lnTo>
                  <a:lnTo>
                    <a:pt x="168" y="31"/>
                  </a:lnTo>
                  <a:lnTo>
                    <a:pt x="164" y="25"/>
                  </a:lnTo>
                  <a:lnTo>
                    <a:pt x="160" y="19"/>
                  </a:lnTo>
                  <a:lnTo>
                    <a:pt x="158" y="14"/>
                  </a:lnTo>
                  <a:lnTo>
                    <a:pt x="156" y="6"/>
                  </a:lnTo>
                  <a:lnTo>
                    <a:pt x="154" y="0"/>
                  </a:lnTo>
                  <a:lnTo>
                    <a:pt x="154" y="0"/>
                  </a:lnTo>
                  <a:lnTo>
                    <a:pt x="152" y="0"/>
                  </a:lnTo>
                  <a:lnTo>
                    <a:pt x="149" y="0"/>
                  </a:lnTo>
                  <a:lnTo>
                    <a:pt x="147" y="0"/>
                  </a:lnTo>
                  <a:lnTo>
                    <a:pt x="145" y="0"/>
                  </a:lnTo>
                  <a:lnTo>
                    <a:pt x="145" y="0"/>
                  </a:lnTo>
                  <a:lnTo>
                    <a:pt x="141" y="0"/>
                  </a:lnTo>
                  <a:lnTo>
                    <a:pt x="139" y="4"/>
                  </a:lnTo>
                  <a:lnTo>
                    <a:pt x="137" y="8"/>
                  </a:lnTo>
                  <a:lnTo>
                    <a:pt x="137" y="12"/>
                  </a:lnTo>
                  <a:lnTo>
                    <a:pt x="133" y="16"/>
                  </a:lnTo>
                  <a:lnTo>
                    <a:pt x="131" y="19"/>
                  </a:lnTo>
                  <a:lnTo>
                    <a:pt x="128" y="21"/>
                  </a:lnTo>
                  <a:lnTo>
                    <a:pt x="124" y="21"/>
                  </a:lnTo>
                  <a:lnTo>
                    <a:pt x="124" y="21"/>
                  </a:lnTo>
                  <a:lnTo>
                    <a:pt x="120" y="21"/>
                  </a:lnTo>
                  <a:lnTo>
                    <a:pt x="118" y="19"/>
                  </a:lnTo>
                  <a:lnTo>
                    <a:pt x="114" y="18"/>
                  </a:lnTo>
                  <a:lnTo>
                    <a:pt x="112" y="16"/>
                  </a:lnTo>
                  <a:lnTo>
                    <a:pt x="112" y="16"/>
                  </a:lnTo>
                  <a:lnTo>
                    <a:pt x="110" y="16"/>
                  </a:lnTo>
                  <a:lnTo>
                    <a:pt x="110" y="18"/>
                  </a:lnTo>
                  <a:lnTo>
                    <a:pt x="108" y="19"/>
                  </a:lnTo>
                  <a:lnTo>
                    <a:pt x="107" y="21"/>
                  </a:lnTo>
                  <a:lnTo>
                    <a:pt x="105" y="23"/>
                  </a:lnTo>
                  <a:lnTo>
                    <a:pt x="103" y="25"/>
                  </a:lnTo>
                  <a:lnTo>
                    <a:pt x="101" y="25"/>
                  </a:lnTo>
                  <a:lnTo>
                    <a:pt x="97" y="27"/>
                  </a:lnTo>
                  <a:lnTo>
                    <a:pt x="97" y="27"/>
                  </a:lnTo>
                  <a:lnTo>
                    <a:pt x="93" y="25"/>
                  </a:lnTo>
                  <a:lnTo>
                    <a:pt x="91" y="23"/>
                  </a:lnTo>
                  <a:lnTo>
                    <a:pt x="89" y="23"/>
                  </a:lnTo>
                  <a:lnTo>
                    <a:pt x="86" y="21"/>
                  </a:lnTo>
                  <a:lnTo>
                    <a:pt x="86" y="21"/>
                  </a:lnTo>
                  <a:lnTo>
                    <a:pt x="82" y="23"/>
                  </a:lnTo>
                  <a:lnTo>
                    <a:pt x="80" y="23"/>
                  </a:lnTo>
                  <a:lnTo>
                    <a:pt x="78" y="25"/>
                  </a:lnTo>
                  <a:lnTo>
                    <a:pt x="74" y="27"/>
                  </a:lnTo>
                  <a:lnTo>
                    <a:pt x="72" y="29"/>
                  </a:lnTo>
                  <a:lnTo>
                    <a:pt x="72" y="33"/>
                  </a:lnTo>
                  <a:lnTo>
                    <a:pt x="68" y="33"/>
                  </a:lnTo>
                  <a:lnTo>
                    <a:pt x="66" y="33"/>
                  </a:lnTo>
                  <a:lnTo>
                    <a:pt x="66" y="33"/>
                  </a:lnTo>
                  <a:lnTo>
                    <a:pt x="65" y="33"/>
                  </a:lnTo>
                  <a:lnTo>
                    <a:pt x="63" y="35"/>
                  </a:lnTo>
                  <a:lnTo>
                    <a:pt x="61" y="35"/>
                  </a:lnTo>
                  <a:lnTo>
                    <a:pt x="61" y="33"/>
                  </a:lnTo>
                  <a:lnTo>
                    <a:pt x="61" y="33"/>
                  </a:lnTo>
                  <a:lnTo>
                    <a:pt x="57" y="35"/>
                  </a:lnTo>
                  <a:lnTo>
                    <a:pt x="53" y="37"/>
                  </a:lnTo>
                  <a:lnTo>
                    <a:pt x="47" y="39"/>
                  </a:lnTo>
                  <a:lnTo>
                    <a:pt x="40" y="40"/>
                  </a:lnTo>
                  <a:lnTo>
                    <a:pt x="34" y="44"/>
                  </a:lnTo>
                  <a:lnTo>
                    <a:pt x="28" y="46"/>
                  </a:lnTo>
                  <a:lnTo>
                    <a:pt x="23" y="48"/>
                  </a:lnTo>
                  <a:lnTo>
                    <a:pt x="21" y="52"/>
                  </a:lnTo>
                  <a:lnTo>
                    <a:pt x="21" y="52"/>
                  </a:lnTo>
                  <a:lnTo>
                    <a:pt x="21" y="56"/>
                  </a:lnTo>
                  <a:lnTo>
                    <a:pt x="21" y="58"/>
                  </a:lnTo>
                  <a:lnTo>
                    <a:pt x="19" y="61"/>
                  </a:lnTo>
                  <a:lnTo>
                    <a:pt x="19" y="65"/>
                  </a:lnTo>
                  <a:lnTo>
                    <a:pt x="19" y="69"/>
                  </a:lnTo>
                  <a:lnTo>
                    <a:pt x="17" y="71"/>
                  </a:lnTo>
                  <a:lnTo>
                    <a:pt x="15" y="75"/>
                  </a:lnTo>
                  <a:lnTo>
                    <a:pt x="13" y="77"/>
                  </a:lnTo>
                  <a:lnTo>
                    <a:pt x="13" y="77"/>
                  </a:lnTo>
                  <a:lnTo>
                    <a:pt x="11" y="79"/>
                  </a:lnTo>
                  <a:lnTo>
                    <a:pt x="9" y="81"/>
                  </a:lnTo>
                  <a:lnTo>
                    <a:pt x="7" y="81"/>
                  </a:lnTo>
                  <a:lnTo>
                    <a:pt x="5" y="82"/>
                  </a:lnTo>
                  <a:lnTo>
                    <a:pt x="4" y="86"/>
                  </a:lnTo>
                  <a:lnTo>
                    <a:pt x="4" y="88"/>
                  </a:lnTo>
                  <a:lnTo>
                    <a:pt x="2" y="92"/>
                  </a:lnTo>
                  <a:lnTo>
                    <a:pt x="2" y="96"/>
                  </a:lnTo>
                  <a:lnTo>
                    <a:pt x="2" y="96"/>
                  </a:lnTo>
                  <a:lnTo>
                    <a:pt x="2" y="102"/>
                  </a:lnTo>
                  <a:lnTo>
                    <a:pt x="4" y="105"/>
                  </a:lnTo>
                  <a:lnTo>
                    <a:pt x="5" y="107"/>
                  </a:lnTo>
                  <a:lnTo>
                    <a:pt x="9" y="111"/>
                  </a:lnTo>
                  <a:lnTo>
                    <a:pt x="11" y="113"/>
                  </a:lnTo>
                  <a:lnTo>
                    <a:pt x="13" y="117"/>
                  </a:lnTo>
                  <a:lnTo>
                    <a:pt x="15" y="123"/>
                  </a:lnTo>
                  <a:lnTo>
                    <a:pt x="15" y="128"/>
                  </a:lnTo>
                  <a:lnTo>
                    <a:pt x="15" y="128"/>
                  </a:lnTo>
                  <a:lnTo>
                    <a:pt x="15" y="136"/>
                  </a:lnTo>
                  <a:lnTo>
                    <a:pt x="13" y="143"/>
                  </a:lnTo>
                  <a:lnTo>
                    <a:pt x="9" y="151"/>
                  </a:lnTo>
                  <a:lnTo>
                    <a:pt x="7" y="157"/>
                  </a:lnTo>
                  <a:lnTo>
                    <a:pt x="4" y="163"/>
                  </a:lnTo>
                  <a:lnTo>
                    <a:pt x="2" y="168"/>
                  </a:lnTo>
                  <a:lnTo>
                    <a:pt x="0" y="176"/>
                  </a:lnTo>
                  <a:lnTo>
                    <a:pt x="0" y="185"/>
                  </a:lnTo>
                  <a:lnTo>
                    <a:pt x="0" y="185"/>
                  </a:lnTo>
                  <a:lnTo>
                    <a:pt x="0" y="187"/>
                  </a:lnTo>
                  <a:lnTo>
                    <a:pt x="0" y="191"/>
                  </a:lnTo>
                  <a:lnTo>
                    <a:pt x="0" y="195"/>
                  </a:lnTo>
                  <a:lnTo>
                    <a:pt x="0" y="199"/>
                  </a:lnTo>
                  <a:lnTo>
                    <a:pt x="0" y="203"/>
                  </a:lnTo>
                  <a:lnTo>
                    <a:pt x="0" y="206"/>
                  </a:lnTo>
                  <a:lnTo>
                    <a:pt x="2" y="208"/>
                  </a:lnTo>
                  <a:lnTo>
                    <a:pt x="2" y="210"/>
                  </a:lnTo>
                  <a:lnTo>
                    <a:pt x="2" y="210"/>
                  </a:lnTo>
                  <a:lnTo>
                    <a:pt x="5" y="212"/>
                  </a:lnTo>
                  <a:lnTo>
                    <a:pt x="9" y="212"/>
                  </a:lnTo>
                  <a:lnTo>
                    <a:pt x="13" y="212"/>
                  </a:lnTo>
                  <a:lnTo>
                    <a:pt x="15" y="216"/>
                  </a:lnTo>
                  <a:lnTo>
                    <a:pt x="15" y="216"/>
                  </a:lnTo>
                  <a:lnTo>
                    <a:pt x="13" y="220"/>
                  </a:lnTo>
                  <a:lnTo>
                    <a:pt x="13" y="222"/>
                  </a:lnTo>
                  <a:lnTo>
                    <a:pt x="13" y="226"/>
                  </a:lnTo>
                  <a:lnTo>
                    <a:pt x="11" y="227"/>
                  </a:lnTo>
                  <a:lnTo>
                    <a:pt x="9" y="229"/>
                  </a:lnTo>
                  <a:lnTo>
                    <a:pt x="9" y="231"/>
                  </a:lnTo>
                  <a:lnTo>
                    <a:pt x="9" y="235"/>
                  </a:lnTo>
                  <a:lnTo>
                    <a:pt x="7" y="239"/>
                  </a:lnTo>
                  <a:lnTo>
                    <a:pt x="7" y="239"/>
                  </a:lnTo>
                  <a:lnTo>
                    <a:pt x="9" y="239"/>
                  </a:lnTo>
                  <a:lnTo>
                    <a:pt x="9" y="241"/>
                  </a:lnTo>
                  <a:lnTo>
                    <a:pt x="11" y="243"/>
                  </a:lnTo>
                  <a:lnTo>
                    <a:pt x="13" y="243"/>
                  </a:lnTo>
                  <a:lnTo>
                    <a:pt x="13" y="243"/>
                  </a:lnTo>
                  <a:lnTo>
                    <a:pt x="17" y="239"/>
                  </a:lnTo>
                  <a:lnTo>
                    <a:pt x="19" y="235"/>
                  </a:lnTo>
                  <a:lnTo>
                    <a:pt x="23" y="231"/>
                  </a:lnTo>
                  <a:lnTo>
                    <a:pt x="26" y="226"/>
                  </a:lnTo>
                  <a:lnTo>
                    <a:pt x="30" y="222"/>
                  </a:lnTo>
                  <a:lnTo>
                    <a:pt x="34" y="220"/>
                  </a:lnTo>
                  <a:lnTo>
                    <a:pt x="38" y="218"/>
                  </a:lnTo>
                  <a:lnTo>
                    <a:pt x="44" y="216"/>
                  </a:lnTo>
                  <a:lnTo>
                    <a:pt x="44" y="216"/>
                  </a:lnTo>
                  <a:lnTo>
                    <a:pt x="49" y="218"/>
                  </a:lnTo>
                  <a:lnTo>
                    <a:pt x="53" y="220"/>
                  </a:lnTo>
                  <a:lnTo>
                    <a:pt x="59" y="222"/>
                  </a:lnTo>
                  <a:lnTo>
                    <a:pt x="65" y="226"/>
                  </a:lnTo>
                  <a:lnTo>
                    <a:pt x="70" y="229"/>
                  </a:lnTo>
                  <a:lnTo>
                    <a:pt x="76" y="231"/>
                  </a:lnTo>
                  <a:lnTo>
                    <a:pt x="80" y="233"/>
                  </a:lnTo>
                  <a:lnTo>
                    <a:pt x="84" y="235"/>
                  </a:lnTo>
                  <a:lnTo>
                    <a:pt x="84" y="235"/>
                  </a:lnTo>
                  <a:lnTo>
                    <a:pt x="86" y="235"/>
                  </a:lnTo>
                  <a:lnTo>
                    <a:pt x="87" y="233"/>
                  </a:lnTo>
                  <a:lnTo>
                    <a:pt x="89" y="231"/>
                  </a:lnTo>
                  <a:lnTo>
                    <a:pt x="91" y="229"/>
                  </a:lnTo>
                  <a:lnTo>
                    <a:pt x="93" y="227"/>
                  </a:lnTo>
                  <a:lnTo>
                    <a:pt x="97" y="226"/>
                  </a:lnTo>
                  <a:lnTo>
                    <a:pt x="99" y="224"/>
                  </a:lnTo>
                  <a:lnTo>
                    <a:pt x="105" y="224"/>
                  </a:lnTo>
                  <a:lnTo>
                    <a:pt x="105" y="224"/>
                  </a:lnTo>
                  <a:lnTo>
                    <a:pt x="107" y="224"/>
                  </a:lnTo>
                  <a:lnTo>
                    <a:pt x="108" y="224"/>
                  </a:lnTo>
                  <a:lnTo>
                    <a:pt x="110" y="226"/>
                  </a:lnTo>
                  <a:lnTo>
                    <a:pt x="112" y="226"/>
                  </a:lnTo>
                  <a:lnTo>
                    <a:pt x="114" y="227"/>
                  </a:lnTo>
                  <a:lnTo>
                    <a:pt x="118" y="227"/>
                  </a:lnTo>
                  <a:lnTo>
                    <a:pt x="120" y="227"/>
                  </a:lnTo>
                  <a:lnTo>
                    <a:pt x="122" y="229"/>
                  </a:lnTo>
                  <a:lnTo>
                    <a:pt x="122" y="229"/>
                  </a:lnTo>
                  <a:lnTo>
                    <a:pt x="122" y="231"/>
                  </a:lnTo>
                  <a:lnTo>
                    <a:pt x="126" y="233"/>
                  </a:lnTo>
                  <a:lnTo>
                    <a:pt x="128" y="235"/>
                  </a:lnTo>
                  <a:lnTo>
                    <a:pt x="131" y="237"/>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0" y="201"/>
                  </a:lnTo>
                  <a:lnTo>
                    <a:pt x="112" y="197"/>
                  </a:lnTo>
                  <a:lnTo>
                    <a:pt x="116" y="193"/>
                  </a:lnTo>
                  <a:lnTo>
                    <a:pt x="120" y="189"/>
                  </a:lnTo>
                  <a:lnTo>
                    <a:pt x="126" y="187"/>
                  </a:lnTo>
                  <a:lnTo>
                    <a:pt x="129" y="184"/>
                  </a:lnTo>
                  <a:lnTo>
                    <a:pt x="135" y="182"/>
                  </a:lnTo>
                  <a:lnTo>
                    <a:pt x="139" y="178"/>
                  </a:lnTo>
                  <a:lnTo>
                    <a:pt x="143" y="172"/>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path>
              </a:pathLst>
            </a:custGeom>
            <a:solidFill>
              <a:srgbClr val="89BBF7"/>
            </a:solidFill>
            <a:ln w="9525" cmpd="sng">
              <a:solidFill>
                <a:schemeClr val="folHlink"/>
              </a:solidFill>
              <a:prstDash val="solid"/>
              <a:round/>
              <a:headEnd/>
              <a:tailEnd/>
            </a:ln>
          </p:spPr>
          <p:txBody>
            <a:bodyPr/>
            <a:lstStyle/>
            <a:p>
              <a:endParaRPr lang="en-US"/>
            </a:p>
          </p:txBody>
        </p:sp>
      </p:grpSp>
      <p:sp>
        <p:nvSpPr>
          <p:cNvPr id="2" name="TextBox 1"/>
          <p:cNvSpPr txBox="1"/>
          <p:nvPr/>
        </p:nvSpPr>
        <p:spPr>
          <a:xfrm>
            <a:off x="769062" y="1226768"/>
            <a:ext cx="1912511" cy="369332"/>
          </a:xfrm>
          <a:prstGeom prst="rect">
            <a:avLst/>
          </a:prstGeom>
          <a:noFill/>
        </p:spPr>
        <p:txBody>
          <a:bodyPr wrap="none" rtlCol="0">
            <a:spAutoFit/>
          </a:bodyPr>
          <a:lstStyle/>
          <a:p>
            <a:r>
              <a:rPr lang="en-US" dirty="0" smtClean="0"/>
              <a:t>Rural Access Index</a:t>
            </a:r>
            <a:endParaRPr lang="en-US" dirty="0"/>
          </a:p>
        </p:txBody>
      </p:sp>
      <p:pic>
        <p:nvPicPr>
          <p:cNvPr id="129" name="Picture 128"/>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17343" y="3335788"/>
            <a:ext cx="1019317" cy="1267002"/>
          </a:xfrm>
          <a:prstGeom prst="rect">
            <a:avLst/>
          </a:prstGeom>
        </p:spPr>
      </p:pic>
      <p:sp>
        <p:nvSpPr>
          <p:cNvPr id="130" name="TextBox 129"/>
          <p:cNvSpPr txBox="1"/>
          <p:nvPr/>
        </p:nvSpPr>
        <p:spPr>
          <a:xfrm>
            <a:off x="249954" y="5981700"/>
            <a:ext cx="1834156" cy="215444"/>
          </a:xfrm>
          <a:prstGeom prst="rect">
            <a:avLst/>
          </a:prstGeom>
          <a:noFill/>
        </p:spPr>
        <p:txBody>
          <a:bodyPr wrap="none" rtlCol="0">
            <a:spAutoFit/>
          </a:bodyPr>
          <a:lstStyle/>
          <a:p>
            <a:r>
              <a:rPr lang="en-US" sz="800" dirty="0" smtClean="0">
                <a:latin typeface="+mj-lt"/>
              </a:rPr>
              <a:t>Source:  The World Bank Group</a:t>
            </a:r>
            <a:endParaRPr lang="en-US" sz="800" dirty="0">
              <a:latin typeface="+mj-lt"/>
            </a:endParaRPr>
          </a:p>
        </p:txBody>
      </p:sp>
      <p:pic>
        <p:nvPicPr>
          <p:cNvPr id="131" name="Picture 2"/>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17100" t="21028" r="18126" b="18186"/>
          <a:stretch/>
        </p:blipFill>
        <p:spPr bwMode="auto">
          <a:xfrm>
            <a:off x="6985000" y="4014634"/>
            <a:ext cx="1971942" cy="178926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2" name="Title 1"/>
          <p:cNvSpPr txBox="1">
            <a:spLocks/>
          </p:cNvSpPr>
          <p:nvPr/>
        </p:nvSpPr>
        <p:spPr>
          <a:xfrm>
            <a:off x="457200" y="292608"/>
            <a:ext cx="8493298" cy="1143000"/>
          </a:xfrm>
          <a:prstGeom prst="rect">
            <a:avLst/>
          </a:prstGeom>
        </p:spPr>
        <p:txBody>
          <a:bodyPr lIns="0" tIns="0" rIns="0" bIns="0"/>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chemeClr val="tx2"/>
                </a:solidFill>
              </a:rPr>
              <a:t>The infrastructure deficit in Africa is significant, particularly in rural areas.</a:t>
            </a:r>
            <a:endParaRPr lang="en-US" sz="2200" b="1" dirty="0">
              <a:solidFill>
                <a:schemeClr val="tx2"/>
              </a:solidFill>
            </a:endParaRPr>
          </a:p>
        </p:txBody>
      </p:sp>
      <p:pic>
        <p:nvPicPr>
          <p:cNvPr id="133" name="Picture 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178451" y="1245385"/>
            <a:ext cx="2740360" cy="18383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4" name="Picture 2"/>
          <p:cNvPicPr>
            <a:picLocks noChangeAspect="1" noChangeArrowheads="1"/>
          </p:cNvPicPr>
          <p:nvPr/>
        </p:nvPicPr>
        <p:blipFill rotWithShape="1">
          <a:blip r:embed="rId6">
            <a:extLst>
              <a:ext uri="{28A0092B-C50C-407E-A947-70E740481C1C}">
                <a14:useLocalDpi xmlns:a14="http://schemas.microsoft.com/office/drawing/2010/main" xmlns="" val="0"/>
              </a:ext>
            </a:extLst>
          </a:blip>
          <a:srcRect r="4986" b="3380"/>
          <a:stretch/>
        </p:blipFill>
        <p:spPr bwMode="auto">
          <a:xfrm>
            <a:off x="4115753" y="4033524"/>
            <a:ext cx="2731096" cy="17922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6" name="TextBox 135"/>
          <p:cNvSpPr txBox="1"/>
          <p:nvPr/>
        </p:nvSpPr>
        <p:spPr>
          <a:xfrm>
            <a:off x="5091276" y="3123284"/>
            <a:ext cx="2914709" cy="338554"/>
          </a:xfrm>
          <a:prstGeom prst="rect">
            <a:avLst/>
          </a:prstGeom>
          <a:noFill/>
        </p:spPr>
        <p:txBody>
          <a:bodyPr wrap="none" rtlCol="0">
            <a:spAutoFit/>
          </a:bodyPr>
          <a:lstStyle/>
          <a:p>
            <a:r>
              <a:rPr lang="en-US" sz="1600" dirty="0" smtClean="0"/>
              <a:t>SSA Electricity access is only 25%</a:t>
            </a:r>
            <a:endParaRPr lang="en-US" sz="1600" dirty="0"/>
          </a:p>
        </p:txBody>
      </p:sp>
      <p:sp>
        <p:nvSpPr>
          <p:cNvPr id="137" name="TextBox 136"/>
          <p:cNvSpPr txBox="1"/>
          <p:nvPr/>
        </p:nvSpPr>
        <p:spPr>
          <a:xfrm>
            <a:off x="4027602" y="3649068"/>
            <a:ext cx="4648388" cy="338554"/>
          </a:xfrm>
          <a:prstGeom prst="rect">
            <a:avLst/>
          </a:prstGeom>
          <a:noFill/>
        </p:spPr>
        <p:txBody>
          <a:bodyPr wrap="none" rtlCol="0">
            <a:spAutoFit/>
          </a:bodyPr>
          <a:lstStyle/>
          <a:p>
            <a:r>
              <a:rPr lang="en-US" sz="1600" dirty="0" smtClean="0"/>
              <a:t>1 in 3 rural Africans have access to an all-season road.</a:t>
            </a:r>
            <a:endParaRPr lang="en-US" sz="1600" dirty="0"/>
          </a:p>
        </p:txBody>
      </p:sp>
    </p:spTree>
    <p:extLst>
      <p:ext uri="{BB962C8B-B14F-4D97-AF65-F5344CB8AC3E}">
        <p14:creationId xmlns:p14="http://schemas.microsoft.com/office/powerpoint/2010/main" xmlns="" val="4014068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990600"/>
            <a:ext cx="9144000" cy="2789663"/>
          </a:xfrm>
          <a:prstGeom prst="rect">
            <a:avLst/>
          </a:prstGeom>
          <a:solidFill>
            <a:srgbClr val="DEDEDE"/>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6" name="Rectangle 15"/>
          <p:cNvSpPr/>
          <p:nvPr/>
        </p:nvSpPr>
        <p:spPr>
          <a:xfrm>
            <a:off x="5625225" y="1274433"/>
            <a:ext cx="2198160" cy="305258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7" name="Rectangle 16"/>
          <p:cNvSpPr/>
          <p:nvPr/>
        </p:nvSpPr>
        <p:spPr>
          <a:xfrm>
            <a:off x="1517301" y="1268403"/>
            <a:ext cx="2090057" cy="305861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0" name="Rectangle 9"/>
          <p:cNvSpPr/>
          <p:nvPr/>
        </p:nvSpPr>
        <p:spPr>
          <a:xfrm>
            <a:off x="5057139" y="4859799"/>
            <a:ext cx="1025161" cy="3081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0" y="3769112"/>
            <a:ext cx="9144000" cy="2443459"/>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4" name="Rectangle 13"/>
          <p:cNvSpPr/>
          <p:nvPr/>
        </p:nvSpPr>
        <p:spPr>
          <a:xfrm>
            <a:off x="0" y="1"/>
            <a:ext cx="9144000" cy="10033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dirty="0" smtClean="0"/>
              <a:t>Sub-Sahara Africa has great need for infrastructure and it’s impact on Ag can be significant</a:t>
            </a:r>
            <a:endParaRPr lang="en-US" dirty="0"/>
          </a:p>
        </p:txBody>
      </p:sp>
      <p:graphicFrame>
        <p:nvGraphicFramePr>
          <p:cNvPr id="11" name="Chart 10"/>
          <p:cNvGraphicFramePr>
            <a:graphicFrameLocks/>
          </p:cNvGraphicFramePr>
          <p:nvPr>
            <p:extLst>
              <p:ext uri="{D42A27DB-BD31-4B8C-83A1-F6EECF244321}">
                <p14:modId xmlns:p14="http://schemas.microsoft.com/office/powerpoint/2010/main" xmlns="" val="63349373"/>
              </p:ext>
            </p:extLst>
          </p:nvPr>
        </p:nvGraphicFramePr>
        <p:xfrm>
          <a:off x="854110" y="1115120"/>
          <a:ext cx="7325248" cy="2793689"/>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Box 3"/>
          <p:cNvSpPr txBox="1"/>
          <p:nvPr/>
        </p:nvSpPr>
        <p:spPr>
          <a:xfrm>
            <a:off x="2105129" y="1066804"/>
            <a:ext cx="914400" cy="281354"/>
          </a:xfrm>
          <a:prstGeom prst="rect">
            <a:avLst/>
          </a:prstGeom>
          <a:noFill/>
        </p:spPr>
        <p:txBody>
          <a:bodyPr wrap="none" lIns="0" tIns="0" rIns="0" bIns="0" rtlCol="0">
            <a:noAutofit/>
          </a:bodyPr>
          <a:lstStyle/>
          <a:p>
            <a:pPr algn="ctr"/>
            <a:r>
              <a:rPr lang="en-US" sz="1400" dirty="0" smtClean="0">
                <a:latin typeface="Verdana"/>
                <a:cs typeface="Verdana"/>
              </a:rPr>
              <a:t>Top 6</a:t>
            </a:r>
          </a:p>
        </p:txBody>
      </p:sp>
      <p:sp>
        <p:nvSpPr>
          <p:cNvPr id="19" name="TextBox 25"/>
          <p:cNvSpPr txBox="1"/>
          <p:nvPr/>
        </p:nvSpPr>
        <p:spPr>
          <a:xfrm>
            <a:off x="4290522" y="1076857"/>
            <a:ext cx="914400" cy="281354"/>
          </a:xfrm>
          <a:prstGeom prst="rect">
            <a:avLst/>
          </a:prstGeom>
          <a:noFill/>
        </p:spPr>
        <p:txBody>
          <a:bodyPr wrap="none" lIns="0" tIns="0" rIns="0" bIns="0" rtlCol="0">
            <a:noAutofit/>
          </a:bodyPr>
          <a:lstStyle/>
          <a:p>
            <a:pPr algn="ctr"/>
            <a:r>
              <a:rPr lang="en-US" sz="1400" dirty="0" smtClean="0">
                <a:latin typeface="Verdana"/>
                <a:cs typeface="Verdana"/>
              </a:rPr>
              <a:t>Middle 6</a:t>
            </a:r>
          </a:p>
        </p:txBody>
      </p:sp>
      <p:sp>
        <p:nvSpPr>
          <p:cNvPr id="20" name="TextBox 30"/>
          <p:cNvSpPr txBox="1"/>
          <p:nvPr/>
        </p:nvSpPr>
        <p:spPr>
          <a:xfrm>
            <a:off x="6399892" y="1076859"/>
            <a:ext cx="914400" cy="281354"/>
          </a:xfrm>
          <a:prstGeom prst="rect">
            <a:avLst/>
          </a:prstGeom>
          <a:noFill/>
        </p:spPr>
        <p:txBody>
          <a:bodyPr wrap="none" lIns="0" tIns="0" rIns="0" bIns="0" rtlCol="0">
            <a:noAutofit/>
          </a:bodyPr>
          <a:lstStyle/>
          <a:p>
            <a:pPr algn="ctr"/>
            <a:r>
              <a:rPr lang="en-US" sz="1400" dirty="0" smtClean="0">
                <a:latin typeface="Verdana"/>
                <a:cs typeface="Verdana"/>
              </a:rPr>
              <a:t>Bottom 6</a:t>
            </a:r>
          </a:p>
        </p:txBody>
      </p:sp>
      <p:sp>
        <p:nvSpPr>
          <p:cNvPr id="8" name="TextBox 7"/>
          <p:cNvSpPr txBox="1"/>
          <p:nvPr/>
        </p:nvSpPr>
        <p:spPr>
          <a:xfrm>
            <a:off x="3019529" y="3801828"/>
            <a:ext cx="2794355" cy="307777"/>
          </a:xfrm>
          <a:prstGeom prst="rect">
            <a:avLst/>
          </a:prstGeom>
          <a:noFill/>
        </p:spPr>
        <p:txBody>
          <a:bodyPr wrap="none" rtlCol="0">
            <a:spAutoFit/>
          </a:bodyPr>
          <a:lstStyle/>
          <a:p>
            <a:r>
              <a:rPr lang="en-US" sz="1400" b="1" dirty="0" smtClean="0"/>
              <a:t>Delivered Fertilizer Price (US$)</a:t>
            </a:r>
            <a:endParaRPr lang="en-US" sz="1400" b="1" dirty="0"/>
          </a:p>
        </p:txBody>
      </p:sp>
      <p:graphicFrame>
        <p:nvGraphicFramePr>
          <p:cNvPr id="7" name="Chart 6"/>
          <p:cNvGraphicFramePr>
            <a:graphicFrameLocks/>
          </p:cNvGraphicFramePr>
          <p:nvPr>
            <p:extLst>
              <p:ext uri="{D42A27DB-BD31-4B8C-83A1-F6EECF244321}">
                <p14:modId xmlns:p14="http://schemas.microsoft.com/office/powerpoint/2010/main" xmlns="" val="2356590720"/>
              </p:ext>
            </p:extLst>
          </p:nvPr>
        </p:nvGraphicFramePr>
        <p:xfrm>
          <a:off x="1715784" y="3902923"/>
          <a:ext cx="6575462" cy="2207944"/>
        </p:xfrm>
        <a:graphic>
          <a:graphicData uri="http://schemas.openxmlformats.org/drawingml/2006/chart">
            <c:chart xmlns:c="http://schemas.openxmlformats.org/drawingml/2006/chart" xmlns:r="http://schemas.openxmlformats.org/officeDocument/2006/relationships" r:id="rId6"/>
          </a:graphicData>
        </a:graphic>
      </p:graphicFrame>
      <p:cxnSp>
        <p:nvCxnSpPr>
          <p:cNvPr id="4" name="Straight Connector 3"/>
          <p:cNvCxnSpPr/>
          <p:nvPr/>
        </p:nvCxnSpPr>
        <p:spPr>
          <a:xfrm>
            <a:off x="-101600" y="3759200"/>
            <a:ext cx="9245600" cy="0"/>
          </a:xfrm>
          <a:prstGeom prst="line">
            <a:avLst/>
          </a:prstGeom>
          <a:ln>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p:cNvSpPr/>
          <p:nvPr/>
        </p:nvSpPr>
        <p:spPr>
          <a:xfrm>
            <a:off x="5084345" y="4859799"/>
            <a:ext cx="959573" cy="308102"/>
          </a:xfrm>
          <a:prstGeom prst="rect">
            <a:avLst/>
          </a:prstGeom>
          <a:noFill/>
          <a:ln w="34925">
            <a:solidFill>
              <a:srgbClr val="FF00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1" name="McK 5. Source"/>
          <p:cNvSpPr>
            <a:spLocks noChangeArrowheads="1"/>
          </p:cNvSpPr>
          <p:nvPr>
            <p:custDataLst>
              <p:tags r:id="rId1"/>
            </p:custDataLst>
          </p:nvPr>
        </p:nvSpPr>
        <p:spPr bwMode="auto">
          <a:xfrm>
            <a:off x="219260" y="3634550"/>
            <a:ext cx="7604125" cy="12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0713" indent="-620713" defTabSz="912813">
              <a:lnSpc>
                <a:spcPct val="90000"/>
              </a:lnSpc>
              <a:tabLst>
                <a:tab pos="623888" algn="l"/>
              </a:tabLst>
            </a:pPr>
            <a:r>
              <a:rPr lang="en-GB" sz="900" dirty="0" smtClean="0">
                <a:solidFill>
                  <a:srgbClr val="666666"/>
                </a:solidFill>
                <a:latin typeface="+mj-lt"/>
              </a:rPr>
              <a:t>SOURCE</a:t>
            </a:r>
            <a:r>
              <a:rPr lang="en-US" sz="900" dirty="0" smtClean="0">
                <a:solidFill>
                  <a:srgbClr val="666666"/>
                </a:solidFill>
                <a:latin typeface="+mj-lt"/>
              </a:rPr>
              <a:t>: CIA.gov</a:t>
            </a:r>
            <a:endParaRPr lang="en-US" sz="900" dirty="0">
              <a:solidFill>
                <a:srgbClr val="666666"/>
              </a:solidFill>
              <a:latin typeface="+mj-lt"/>
            </a:endParaRPr>
          </a:p>
        </p:txBody>
      </p:sp>
      <p:sp>
        <p:nvSpPr>
          <p:cNvPr id="22" name="McK 5. Source"/>
          <p:cNvSpPr>
            <a:spLocks noChangeArrowheads="1"/>
          </p:cNvSpPr>
          <p:nvPr>
            <p:custDataLst>
              <p:tags r:id="rId2"/>
            </p:custDataLst>
          </p:nvPr>
        </p:nvSpPr>
        <p:spPr bwMode="auto">
          <a:xfrm>
            <a:off x="140546" y="6080664"/>
            <a:ext cx="7604125" cy="12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p>
            <a:pPr marL="620713" indent="-620713" defTabSz="912813">
              <a:lnSpc>
                <a:spcPct val="90000"/>
              </a:lnSpc>
              <a:tabLst>
                <a:tab pos="623888" algn="l"/>
              </a:tabLst>
            </a:pPr>
            <a:r>
              <a:rPr lang="en-GB" sz="900" dirty="0" smtClean="0">
                <a:solidFill>
                  <a:srgbClr val="666666"/>
                </a:solidFill>
                <a:latin typeface="+mj-lt"/>
              </a:rPr>
              <a:t>SOURCE</a:t>
            </a:r>
            <a:r>
              <a:rPr lang="en-US" sz="900" dirty="0" smtClean="0">
                <a:solidFill>
                  <a:srgbClr val="666666"/>
                </a:solidFill>
                <a:latin typeface="+mj-lt"/>
              </a:rPr>
              <a:t>: Alliance for a Green Revolution in Africa, 2013</a:t>
            </a:r>
            <a:endParaRPr lang="en-US" sz="900" dirty="0">
              <a:solidFill>
                <a:srgbClr val="666666"/>
              </a:solidFill>
              <a:latin typeface="+mj-lt"/>
            </a:endParaRPr>
          </a:p>
        </p:txBody>
      </p:sp>
      <p:sp>
        <p:nvSpPr>
          <p:cNvPr id="5" name="TextBox 4"/>
          <p:cNvSpPr txBox="1"/>
          <p:nvPr/>
        </p:nvSpPr>
        <p:spPr>
          <a:xfrm>
            <a:off x="6162684" y="2670092"/>
            <a:ext cx="331720" cy="281353"/>
          </a:xfrm>
          <a:prstGeom prst="rect">
            <a:avLst/>
          </a:prstGeom>
          <a:noFill/>
        </p:spPr>
        <p:txBody>
          <a:bodyPr wrap="none" lIns="0" tIns="0" rIns="0" bIns="0" rtlCol="0">
            <a:noAutofit/>
          </a:bodyPr>
          <a:lstStyle/>
          <a:p>
            <a:r>
              <a:rPr lang="en-US" sz="1100" b="1" dirty="0" smtClean="0">
                <a:latin typeface="Verdana"/>
                <a:cs typeface="Verdana"/>
              </a:rPr>
              <a:t>NA</a:t>
            </a:r>
          </a:p>
        </p:txBody>
      </p:sp>
    </p:spTree>
    <p:extLst>
      <p:ext uri="{BB962C8B-B14F-4D97-AF65-F5344CB8AC3E}">
        <p14:creationId xmlns:p14="http://schemas.microsoft.com/office/powerpoint/2010/main" xmlns="" val="4172570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2044700"/>
            <a:ext cx="9144000" cy="3810000"/>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10" name="Rectangle 9"/>
          <p:cNvSpPr/>
          <p:nvPr/>
        </p:nvSpPr>
        <p:spPr>
          <a:xfrm>
            <a:off x="0" y="2041652"/>
            <a:ext cx="8864601" cy="3813048"/>
          </a:xfrm>
          <a:prstGeom prst="rect">
            <a:avLst/>
          </a:prstGeom>
          <a:gradFill flip="none" rotWithShape="1">
            <a:gsLst>
              <a:gs pos="0">
                <a:schemeClr val="bg1"/>
              </a:gs>
              <a:gs pos="50000">
                <a:srgbClr val="333333">
                  <a:tint val="44500"/>
                  <a:satMod val="160000"/>
                </a:srgbClr>
              </a:gs>
              <a:gs pos="100000">
                <a:srgbClr val="333333">
                  <a:tint val="23500"/>
                  <a:satMod val="16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fontAlgn="auto">
              <a:spcBef>
                <a:spcPts val="0"/>
              </a:spcBef>
              <a:spcAft>
                <a:spcPts val="0"/>
              </a:spcAft>
              <a:buSzTx/>
            </a:pPr>
            <a:endParaRPr lang="en-US" sz="1400" b="0" dirty="0" err="1" smtClean="0">
              <a:solidFill>
                <a:prstClr val="white"/>
              </a:solidFill>
              <a:cs typeface="Verdana"/>
            </a:endParaRPr>
          </a:p>
        </p:txBody>
      </p:sp>
      <p:graphicFrame>
        <p:nvGraphicFramePr>
          <p:cNvPr id="3" name="Chart 2"/>
          <p:cNvGraphicFramePr>
            <a:graphicFrameLocks/>
          </p:cNvGraphicFramePr>
          <p:nvPr>
            <p:extLst>
              <p:ext uri="{D42A27DB-BD31-4B8C-83A1-F6EECF244321}">
                <p14:modId xmlns:p14="http://schemas.microsoft.com/office/powerpoint/2010/main" xmlns="" val="190366473"/>
              </p:ext>
            </p:extLst>
          </p:nvPr>
        </p:nvGraphicFramePr>
        <p:xfrm>
          <a:off x="1638300" y="2120900"/>
          <a:ext cx="5880100" cy="3244314"/>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457200" y="292608"/>
            <a:ext cx="8493298" cy="1143000"/>
          </a:xfrm>
          <a:prstGeom prst="rect">
            <a:avLst/>
          </a:prstGeom>
        </p:spPr>
        <p:txBody>
          <a:bodyPr lIns="0" tIns="0" rIns="0" bIns="0"/>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chemeClr val="tx2"/>
                </a:solidFill>
              </a:rPr>
              <a:t>Improving rural accessibility would entail a huge expansion of Africa’s </a:t>
            </a:r>
            <a:r>
              <a:rPr lang="en-US" sz="2200" b="1" dirty="0">
                <a:solidFill>
                  <a:schemeClr val="tx2"/>
                </a:solidFill>
              </a:rPr>
              <a:t>road network. The cost of addressing Africa’s infrastructure needs is around $93 billion a year, about one-third of which is for </a:t>
            </a:r>
            <a:r>
              <a:rPr lang="en-US" sz="2200" b="1" dirty="0" smtClean="0">
                <a:solidFill>
                  <a:schemeClr val="tx2"/>
                </a:solidFill>
              </a:rPr>
              <a:t>maintenance</a:t>
            </a:r>
            <a:r>
              <a:rPr lang="en-US" sz="2400" dirty="0" smtClean="0"/>
              <a:t>.</a:t>
            </a:r>
            <a:endParaRPr lang="en-US" sz="2400" dirty="0"/>
          </a:p>
          <a:p>
            <a:pPr algn="l"/>
            <a:endParaRPr lang="en-US" sz="2400" dirty="0"/>
          </a:p>
        </p:txBody>
      </p:sp>
      <p:sp>
        <p:nvSpPr>
          <p:cNvPr id="2" name="TextBox 1"/>
          <p:cNvSpPr txBox="1"/>
          <p:nvPr/>
        </p:nvSpPr>
        <p:spPr>
          <a:xfrm>
            <a:off x="5334000" y="2967454"/>
            <a:ext cx="1018227" cy="369332"/>
          </a:xfrm>
          <a:prstGeom prst="rect">
            <a:avLst/>
          </a:prstGeom>
          <a:noFill/>
        </p:spPr>
        <p:txBody>
          <a:bodyPr wrap="none" rtlCol="0">
            <a:spAutoFit/>
          </a:bodyPr>
          <a:lstStyle/>
          <a:p>
            <a:r>
              <a:rPr lang="en-US" dirty="0" smtClean="0"/>
              <a:t>R</a:t>
            </a:r>
            <a:r>
              <a:rPr lang="en-US" baseline="30000" dirty="0" smtClean="0"/>
              <a:t>2</a:t>
            </a:r>
            <a:r>
              <a:rPr lang="en-US" dirty="0" smtClean="0"/>
              <a:t> = 0.97</a:t>
            </a:r>
            <a:endParaRPr lang="en-US" dirty="0"/>
          </a:p>
        </p:txBody>
      </p:sp>
      <p:sp>
        <p:nvSpPr>
          <p:cNvPr id="6" name="TextBox 5"/>
          <p:cNvSpPr txBox="1"/>
          <p:nvPr/>
        </p:nvSpPr>
        <p:spPr>
          <a:xfrm rot="16200000">
            <a:off x="-58051" y="3414815"/>
            <a:ext cx="3050835" cy="338554"/>
          </a:xfrm>
          <a:prstGeom prst="rect">
            <a:avLst/>
          </a:prstGeom>
          <a:noFill/>
        </p:spPr>
        <p:txBody>
          <a:bodyPr wrap="none" rtlCol="0">
            <a:spAutoFit/>
          </a:bodyPr>
          <a:lstStyle/>
          <a:p>
            <a:r>
              <a:rPr lang="en-US" sz="1600" b="1" dirty="0" smtClean="0">
                <a:latin typeface="+mj-lt"/>
              </a:rPr>
              <a:t>Rural Accessibility Index</a:t>
            </a:r>
            <a:endParaRPr lang="en-US" sz="1600" b="1" dirty="0">
              <a:latin typeface="+mj-lt"/>
            </a:endParaRPr>
          </a:p>
        </p:txBody>
      </p:sp>
      <p:sp>
        <p:nvSpPr>
          <p:cNvPr id="7" name="TextBox 6"/>
          <p:cNvSpPr txBox="1"/>
          <p:nvPr/>
        </p:nvSpPr>
        <p:spPr>
          <a:xfrm>
            <a:off x="2197100" y="5393154"/>
            <a:ext cx="5303055" cy="307777"/>
          </a:xfrm>
          <a:prstGeom prst="rect">
            <a:avLst/>
          </a:prstGeom>
          <a:noFill/>
        </p:spPr>
        <p:txBody>
          <a:bodyPr wrap="none" rtlCol="0">
            <a:spAutoFit/>
          </a:bodyPr>
          <a:lstStyle/>
          <a:p>
            <a:r>
              <a:rPr lang="en-US" sz="1400" b="1" dirty="0" smtClean="0">
                <a:latin typeface="+mj-lt"/>
              </a:rPr>
              <a:t>Thousands of kilometers of all season road needed</a:t>
            </a:r>
            <a:endParaRPr lang="en-US" sz="1400" b="1" dirty="0">
              <a:latin typeface="+mj-lt"/>
            </a:endParaRPr>
          </a:p>
        </p:txBody>
      </p:sp>
      <p:sp>
        <p:nvSpPr>
          <p:cNvPr id="5" name="TextBox 4"/>
          <p:cNvSpPr txBox="1"/>
          <p:nvPr/>
        </p:nvSpPr>
        <p:spPr>
          <a:xfrm>
            <a:off x="233252" y="5918200"/>
            <a:ext cx="5553123" cy="230832"/>
          </a:xfrm>
          <a:prstGeom prst="rect">
            <a:avLst/>
          </a:prstGeom>
          <a:noFill/>
        </p:spPr>
        <p:txBody>
          <a:bodyPr wrap="none" rtlCol="0">
            <a:spAutoFit/>
          </a:bodyPr>
          <a:lstStyle/>
          <a:p>
            <a:r>
              <a:rPr lang="en-US" sz="900" dirty="0" smtClean="0">
                <a:latin typeface="+mj-lt"/>
              </a:rPr>
              <a:t>Source:  Africa’s Infrastructure, A Time for Transformation; Foster and </a:t>
            </a:r>
            <a:r>
              <a:rPr lang="en-US" sz="900" dirty="0" err="1" smtClean="0">
                <a:latin typeface="+mj-lt"/>
              </a:rPr>
              <a:t>Briceno-Garmendia</a:t>
            </a:r>
            <a:r>
              <a:rPr lang="en-US" sz="900" dirty="0" smtClean="0">
                <a:latin typeface="+mj-lt"/>
              </a:rPr>
              <a:t>  </a:t>
            </a:r>
            <a:endParaRPr lang="en-US" sz="900" dirty="0">
              <a:latin typeface="+mj-lt"/>
            </a:endParaRPr>
          </a:p>
        </p:txBody>
      </p:sp>
    </p:spTree>
    <p:extLst>
      <p:ext uri="{BB962C8B-B14F-4D97-AF65-F5344CB8AC3E}">
        <p14:creationId xmlns:p14="http://schemas.microsoft.com/office/powerpoint/2010/main" xmlns="" val="42591253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ambia, the tipping point.</a:t>
            </a:r>
            <a:endParaRPr lang="en-ZA" dirty="0"/>
          </a:p>
        </p:txBody>
      </p:sp>
      <p:sp>
        <p:nvSpPr>
          <p:cNvPr id="3" name="Text Placeholder 2"/>
          <p:cNvSpPr>
            <a:spLocks noGrp="1"/>
          </p:cNvSpPr>
          <p:nvPr>
            <p:ph type="body" sz="quarter" idx="4294967295"/>
          </p:nvPr>
        </p:nvSpPr>
        <p:spPr>
          <a:xfrm>
            <a:off x="558141" y="5613339"/>
            <a:ext cx="6127668" cy="503237"/>
          </a:xfrm>
          <a:prstGeom prst="rect">
            <a:avLst/>
          </a:prstGeom>
        </p:spPr>
        <p:txBody>
          <a:bodyPr/>
          <a:lstStyle/>
          <a:p>
            <a:pPr marL="0" indent="0">
              <a:buNone/>
            </a:pPr>
            <a:r>
              <a:rPr lang="en-US" sz="1600" dirty="0" smtClean="0">
                <a:solidFill>
                  <a:schemeClr val="tx1"/>
                </a:solidFill>
              </a:rPr>
              <a:t>CORT = Cereals, Oilseeds, Root and Tubers</a:t>
            </a:r>
            <a:br>
              <a:rPr lang="en-US" sz="1600" dirty="0" smtClean="0">
                <a:solidFill>
                  <a:schemeClr val="tx1"/>
                </a:solidFill>
              </a:rPr>
            </a:br>
            <a:r>
              <a:rPr lang="en-US" sz="1600" dirty="0" smtClean="0">
                <a:solidFill>
                  <a:schemeClr val="tx1"/>
                </a:solidFill>
              </a:rPr>
              <a:t>FRA = Food Reserve Agency</a:t>
            </a:r>
            <a:endParaRPr lang="en-ZA" sz="1600" dirty="0">
              <a:solidFill>
                <a:schemeClr val="tx1"/>
              </a:solidFill>
            </a:endParaRPr>
          </a:p>
        </p:txBody>
      </p:sp>
      <p:graphicFrame>
        <p:nvGraphicFramePr>
          <p:cNvPr id="5" name="Chart 4"/>
          <p:cNvGraphicFramePr>
            <a:graphicFrameLocks/>
          </p:cNvGraphicFramePr>
          <p:nvPr>
            <p:extLst>
              <p:ext uri="{D42A27DB-BD31-4B8C-83A1-F6EECF244321}">
                <p14:modId xmlns:p14="http://schemas.microsoft.com/office/powerpoint/2010/main" xmlns="" val="3351956005"/>
              </p:ext>
            </p:extLst>
          </p:nvPr>
        </p:nvGraphicFramePr>
        <p:xfrm>
          <a:off x="269776" y="908720"/>
          <a:ext cx="8604448" cy="4575984"/>
        </p:xfrm>
        <a:graphic>
          <a:graphicData uri="http://schemas.openxmlformats.org/drawingml/2006/chart">
            <c:chart xmlns:c="http://schemas.openxmlformats.org/drawingml/2006/chart" xmlns:r="http://schemas.openxmlformats.org/officeDocument/2006/relationships" r:id="rId2"/>
          </a:graphicData>
        </a:graphic>
      </p:graphicFrame>
      <p:sp>
        <p:nvSpPr>
          <p:cNvPr id="8" name="Line Callout 2 7"/>
          <p:cNvSpPr/>
          <p:nvPr/>
        </p:nvSpPr>
        <p:spPr>
          <a:xfrm flipH="1">
            <a:off x="1475656" y="1572290"/>
            <a:ext cx="3240360" cy="684000"/>
          </a:xfrm>
          <a:prstGeom prst="borderCallout2">
            <a:avLst>
              <a:gd name="adj1" fmla="val 18750"/>
              <a:gd name="adj2" fmla="val -1446"/>
              <a:gd name="adj3" fmla="val 18750"/>
              <a:gd name="adj4" fmla="val -16667"/>
              <a:gd name="adj5" fmla="val 219310"/>
              <a:gd name="adj6" fmla="val -39110"/>
            </a:avLst>
          </a:prstGeom>
          <a:solidFill>
            <a:schemeClr val="bg1"/>
          </a:solidFill>
          <a:ln w="3175">
            <a:solidFill>
              <a:srgbClr val="00660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fontAlgn="auto">
              <a:spcBef>
                <a:spcPts val="0"/>
              </a:spcBef>
              <a:spcAft>
                <a:spcPts val="0"/>
              </a:spcAft>
            </a:pPr>
            <a:r>
              <a:rPr lang="en-US" sz="1400" dirty="0" smtClean="0">
                <a:solidFill>
                  <a:srgbClr val="006600"/>
                </a:solidFill>
                <a:cs typeface="Verdana"/>
              </a:rPr>
              <a:t>Zambia FRA implemented premium price for smallholder corn together with seed and fertilizer subsidies.</a:t>
            </a:r>
            <a:endParaRPr lang="en-ZA" sz="1400" dirty="0" err="1" smtClean="0">
              <a:solidFill>
                <a:srgbClr val="006600"/>
              </a:solidFill>
              <a:cs typeface="Verdana"/>
            </a:endParaRPr>
          </a:p>
        </p:txBody>
      </p:sp>
    </p:spTree>
    <p:extLst>
      <p:ext uri="{BB962C8B-B14F-4D97-AF65-F5344CB8AC3E}">
        <p14:creationId xmlns:p14="http://schemas.microsoft.com/office/powerpoint/2010/main" xmlns="" val="534339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4963886"/>
          </a:xfrm>
          <a:prstGeom prst="rect">
            <a:avLst/>
          </a:prstGeom>
          <a:gradFill flip="none" rotWithShape="1">
            <a:gsLst>
              <a:gs pos="0">
                <a:schemeClr val="bg1">
                  <a:lumMod val="75000"/>
                </a:schemeClr>
              </a:gs>
              <a:gs pos="67000">
                <a:schemeClr val="bg1">
                  <a:lumMod val="95000"/>
                </a:schemeClr>
              </a:gs>
              <a:gs pos="100000">
                <a:schemeClr val="bg1">
                  <a:lumMod val="95000"/>
                  <a:alpha val="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400" dirty="0" err="1" smtClean="0">
              <a:latin typeface="Verdana"/>
              <a:cs typeface="Verdana"/>
            </a:endParaRPr>
          </a:p>
        </p:txBody>
      </p:sp>
      <p:sp>
        <p:nvSpPr>
          <p:cNvPr id="2" name="Title 1"/>
          <p:cNvSpPr>
            <a:spLocks noGrp="1"/>
          </p:cNvSpPr>
          <p:nvPr>
            <p:ph type="title"/>
          </p:nvPr>
        </p:nvSpPr>
        <p:spPr/>
        <p:txBody>
          <a:bodyPr/>
          <a:lstStyle/>
          <a:p>
            <a:r>
              <a:rPr lang="en-US" dirty="0" smtClean="0">
                <a:solidFill>
                  <a:schemeClr val="tx1"/>
                </a:solidFill>
              </a:rPr>
              <a:t>In Conclusion</a:t>
            </a:r>
            <a:endParaRPr lang="en-US" dirty="0">
              <a:solidFill>
                <a:schemeClr val="tx1"/>
              </a:solidFill>
            </a:endParaRPr>
          </a:p>
        </p:txBody>
      </p:sp>
      <p:sp>
        <p:nvSpPr>
          <p:cNvPr id="3" name="Content Placeholder 2"/>
          <p:cNvSpPr>
            <a:spLocks noGrp="1"/>
          </p:cNvSpPr>
          <p:nvPr>
            <p:ph idx="4294967295"/>
          </p:nvPr>
        </p:nvSpPr>
        <p:spPr>
          <a:xfrm>
            <a:off x="463138" y="764275"/>
            <a:ext cx="8271429" cy="5179325"/>
          </a:xfrm>
        </p:spPr>
        <p:txBody>
          <a:bodyPr/>
          <a:lstStyle/>
          <a:p>
            <a:pPr marL="285750" lvl="1" indent="-285750">
              <a:spcAft>
                <a:spcPts val="600"/>
              </a:spcAft>
              <a:buFont typeface="Verdana" panose="020B0604030504040204" pitchFamily="34" charset="0"/>
              <a:buChar char="–"/>
            </a:pPr>
            <a:r>
              <a:rPr lang="en-US" sz="2000" dirty="0">
                <a:solidFill>
                  <a:schemeClr val="tx1"/>
                </a:solidFill>
              </a:rPr>
              <a:t>Sub-Sahara Africa has enormous potential and when the catalysts of agricultural development act</a:t>
            </a:r>
            <a:r>
              <a:rPr lang="en-US" sz="2000" dirty="0" smtClean="0">
                <a:solidFill>
                  <a:schemeClr val="tx1"/>
                </a:solidFill>
              </a:rPr>
              <a:t>, </a:t>
            </a:r>
            <a:r>
              <a:rPr lang="en-US" sz="2000" dirty="0">
                <a:solidFill>
                  <a:schemeClr val="tx1"/>
                </a:solidFill>
              </a:rPr>
              <a:t>growth </a:t>
            </a:r>
            <a:r>
              <a:rPr lang="en-US" sz="2000" dirty="0" smtClean="0">
                <a:solidFill>
                  <a:schemeClr val="tx1"/>
                </a:solidFill>
              </a:rPr>
              <a:t>can be rapid</a:t>
            </a:r>
          </a:p>
          <a:p>
            <a:pPr marL="285750" lvl="1" indent="-285750">
              <a:spcAft>
                <a:spcPts val="600"/>
              </a:spcAft>
              <a:buFont typeface="Verdana" panose="020B0604030504040204" pitchFamily="34" charset="0"/>
              <a:buChar char="–"/>
            </a:pPr>
            <a:r>
              <a:rPr lang="en-US" sz="2000" dirty="0" smtClean="0">
                <a:solidFill>
                  <a:schemeClr val="tx1"/>
                </a:solidFill>
              </a:rPr>
              <a:t>Small holder success is the key to unlocking agricultural productivity across the region</a:t>
            </a:r>
          </a:p>
          <a:p>
            <a:pPr marL="285750" lvl="1" indent="-285750">
              <a:spcAft>
                <a:spcPts val="600"/>
              </a:spcAft>
              <a:buFont typeface="Verdana" panose="020B0604030504040204" pitchFamily="34" charset="0"/>
              <a:buChar char="–"/>
            </a:pPr>
            <a:r>
              <a:rPr lang="en-US" sz="2000" dirty="0" smtClean="0">
                <a:solidFill>
                  <a:schemeClr val="tx1"/>
                </a:solidFill>
              </a:rPr>
              <a:t>Mechanization is key a key facilitator of small holder success</a:t>
            </a:r>
          </a:p>
          <a:p>
            <a:pPr marL="285750" lvl="1" indent="-285750">
              <a:spcAft>
                <a:spcPts val="600"/>
              </a:spcAft>
              <a:buFont typeface="Verdana" panose="020B0604030504040204" pitchFamily="34" charset="0"/>
              <a:buChar char="–"/>
            </a:pPr>
            <a:r>
              <a:rPr lang="en-US" sz="2000" dirty="0" smtClean="0">
                <a:solidFill>
                  <a:schemeClr val="tx1"/>
                </a:solidFill>
              </a:rPr>
              <a:t>Governments are a critical enabler of </a:t>
            </a:r>
            <a:r>
              <a:rPr lang="en-US" sz="2000" dirty="0">
                <a:solidFill>
                  <a:schemeClr val="tx1"/>
                </a:solidFill>
              </a:rPr>
              <a:t>the development of a</a:t>
            </a:r>
            <a:r>
              <a:rPr lang="en-US" sz="2000" dirty="0" smtClean="0">
                <a:solidFill>
                  <a:schemeClr val="tx1"/>
                </a:solidFill>
              </a:rPr>
              <a:t>griculture.  Their ability and effectiveness vary by </a:t>
            </a:r>
            <a:r>
              <a:rPr lang="en-US" sz="2000" dirty="0">
                <a:solidFill>
                  <a:schemeClr val="tx1"/>
                </a:solidFill>
              </a:rPr>
              <a:t>country, </a:t>
            </a:r>
            <a:r>
              <a:rPr lang="en-US" sz="2000" dirty="0" smtClean="0">
                <a:solidFill>
                  <a:schemeClr val="tx1"/>
                </a:solidFill>
              </a:rPr>
              <a:t>but once they engage, advancement can be rapid.</a:t>
            </a:r>
            <a:endParaRPr lang="en-US" sz="2000" dirty="0">
              <a:solidFill>
                <a:schemeClr val="tx1"/>
              </a:solidFill>
            </a:endParaRPr>
          </a:p>
        </p:txBody>
      </p:sp>
    </p:spTree>
    <p:extLst>
      <p:ext uri="{BB962C8B-B14F-4D97-AF65-F5344CB8AC3E}">
        <p14:creationId xmlns:p14="http://schemas.microsoft.com/office/powerpoint/2010/main" xmlns="" val="6984738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a:graphicFrameLocks noGrp="1"/>
          </p:cNvGraphicFramePr>
          <p:nvPr>
            <p:extLst>
              <p:ext uri="{D42A27DB-BD31-4B8C-83A1-F6EECF244321}">
                <p14:modId xmlns:p14="http://schemas.microsoft.com/office/powerpoint/2010/main" xmlns="" val="2707883668"/>
              </p:ext>
            </p:extLst>
          </p:nvPr>
        </p:nvGraphicFramePr>
        <p:xfrm>
          <a:off x="457200" y="632507"/>
          <a:ext cx="7707313" cy="5562600"/>
        </p:xfrm>
        <a:graphic>
          <a:graphicData uri="http://schemas.openxmlformats.org/drawingml/2006/chart">
            <c:chart xmlns:c="http://schemas.openxmlformats.org/drawingml/2006/chart" xmlns:r="http://schemas.openxmlformats.org/officeDocument/2006/relationships" r:id="rId3"/>
          </a:graphicData>
        </a:graphic>
      </p:graphicFrame>
      <p:sp>
        <p:nvSpPr>
          <p:cNvPr id="4099" name="Title 7"/>
          <p:cNvSpPr>
            <a:spLocks noGrp="1"/>
          </p:cNvSpPr>
          <p:nvPr>
            <p:ph type="title"/>
          </p:nvPr>
        </p:nvSpPr>
        <p:spPr/>
        <p:txBody>
          <a:bodyPr/>
          <a:lstStyle/>
          <a:p>
            <a:r>
              <a:rPr lang="en-US" dirty="0" smtClean="0"/>
              <a:t>Global Macro Economy</a:t>
            </a:r>
            <a:br>
              <a:rPr lang="en-US" dirty="0" smtClean="0"/>
            </a:br>
            <a:r>
              <a:rPr lang="en-US" sz="1800" i="1" dirty="0" smtClean="0">
                <a:solidFill>
                  <a:schemeClr val="accent1"/>
                </a:solidFill>
              </a:rPr>
              <a:t>World GDP growth</a:t>
            </a:r>
            <a:r>
              <a:rPr lang="en-US" i="1" dirty="0" smtClean="0">
                <a:solidFill>
                  <a:schemeClr val="accent1"/>
                </a:solidFill>
              </a:rPr>
              <a:t/>
            </a:r>
            <a:br>
              <a:rPr lang="en-US" i="1" dirty="0" smtClean="0">
                <a:solidFill>
                  <a:schemeClr val="accent1"/>
                </a:solidFill>
              </a:rPr>
            </a:br>
            <a:endParaRPr lang="en-US" dirty="0" smtClean="0"/>
          </a:p>
        </p:txBody>
      </p:sp>
      <p:sp>
        <p:nvSpPr>
          <p:cNvPr id="2" name="Oval 1"/>
          <p:cNvSpPr/>
          <p:nvPr/>
        </p:nvSpPr>
        <p:spPr bwMode="auto">
          <a:xfrm>
            <a:off x="5867400" y="2895600"/>
            <a:ext cx="838200" cy="762000"/>
          </a:xfrm>
          <a:prstGeom prst="ellipse">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sp>
        <p:nvSpPr>
          <p:cNvPr id="12" name="Slide Number Placeholder 4"/>
          <p:cNvSpPr>
            <a:spLocks noGrp="1"/>
          </p:cNvSpPr>
          <p:nvPr>
            <p:ph type="sldNum" sz="quarter" idx="11"/>
          </p:nvPr>
        </p:nvSpPr>
        <p:spPr>
          <a:xfrm>
            <a:off x="392113" y="6453188"/>
            <a:ext cx="228600" cy="228600"/>
          </a:xfrm>
        </p:spPr>
        <p:txBody>
          <a:bodyPr/>
          <a:lstStyle/>
          <a:p>
            <a:pPr>
              <a:defRPr/>
            </a:pPr>
            <a:fld id="{885573C4-83F9-459F-9CA2-6A277815F0DF}" type="slidenum">
              <a:rPr lang="en-US" smtClean="0"/>
              <a:pPr>
                <a:defRPr/>
              </a:pPr>
              <a:t>3</a:t>
            </a:fld>
            <a:endParaRPr lang="en-US" dirty="0"/>
          </a:p>
        </p:txBody>
      </p:sp>
      <p:sp>
        <p:nvSpPr>
          <p:cNvPr id="8" name="Text Box 9"/>
          <p:cNvSpPr txBox="1">
            <a:spLocks noChangeArrowheads="1"/>
          </p:cNvSpPr>
          <p:nvPr/>
        </p:nvSpPr>
        <p:spPr bwMode="auto">
          <a:xfrm>
            <a:off x="-1" y="6207125"/>
            <a:ext cx="7362825" cy="215444"/>
          </a:xfrm>
          <a:prstGeom prst="rect">
            <a:avLst/>
          </a:prstGeom>
          <a:noFill/>
          <a:ln w="9525">
            <a:noFill/>
            <a:miter lim="800000"/>
            <a:headEnd/>
            <a:tailEnd/>
          </a:ln>
        </p:spPr>
        <p:txBody>
          <a:bodyPr wrap="square">
            <a:spAutoFit/>
          </a:bodyPr>
          <a:lstStyle/>
          <a:p>
            <a:r>
              <a:rPr lang="en-US" sz="800" b="0" dirty="0"/>
              <a:t>Source:  International Monetary Fund (IMF), </a:t>
            </a:r>
            <a:r>
              <a:rPr lang="en-US" sz="800" b="0" dirty="0">
                <a:cs typeface="Arial" charset="0"/>
              </a:rPr>
              <a:t>World </a:t>
            </a:r>
            <a:r>
              <a:rPr lang="en-US" sz="800" b="0" dirty="0" smtClean="0">
                <a:cs typeface="Arial" charset="0"/>
              </a:rPr>
              <a:t>Economic Outlook </a:t>
            </a:r>
            <a:r>
              <a:rPr lang="en-US" sz="800" dirty="0" smtClean="0">
                <a:cs typeface="Arial" charset="0"/>
              </a:rPr>
              <a:t>, October</a:t>
            </a:r>
            <a:r>
              <a:rPr lang="en-US" sz="800" b="0" dirty="0" smtClean="0">
                <a:cs typeface="Arial" charset="0"/>
              </a:rPr>
              <a:t> 08, 2013</a:t>
            </a:r>
            <a:endParaRPr lang="en-US" sz="800" b="0" dirty="0"/>
          </a:p>
        </p:txBody>
      </p:sp>
    </p:spTree>
    <p:extLst>
      <p:ext uri="{BB962C8B-B14F-4D97-AF65-F5344CB8AC3E}">
        <p14:creationId xmlns:p14="http://schemas.microsoft.com/office/powerpoint/2010/main" xmlns="" val="27122181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Title 8"/>
          <p:cNvSpPr>
            <a:spLocks noGrp="1"/>
          </p:cNvSpPr>
          <p:nvPr>
            <p:ph type="title"/>
          </p:nvPr>
        </p:nvSpPr>
        <p:spPr/>
        <p:txBody>
          <a:bodyPr/>
          <a:lstStyle/>
          <a:p>
            <a:r>
              <a:rPr lang="en-US" dirty="0" smtClean="0"/>
              <a:t>Sub-Saharan Africa</a:t>
            </a:r>
            <a:br>
              <a:rPr lang="en-US" dirty="0" smtClean="0"/>
            </a:br>
            <a:r>
              <a:rPr lang="en-US" sz="1800" i="1" dirty="0" smtClean="0"/>
              <a:t>GDP Growth</a:t>
            </a:r>
          </a:p>
        </p:txBody>
      </p:sp>
      <p:sp>
        <p:nvSpPr>
          <p:cNvPr id="5123" name="Slide Number Placeholder 2"/>
          <p:cNvSpPr>
            <a:spLocks noGrp="1"/>
          </p:cNvSpPr>
          <p:nvPr>
            <p:ph type="sldNum" sz="quarter" idx="11"/>
          </p:nvPr>
        </p:nvSpPr>
        <p:spPr>
          <a:prstGeom prst="rect">
            <a:avLst/>
          </a:prstGeom>
          <a:noFill/>
        </p:spPr>
        <p:txBody>
          <a:bodyPr/>
          <a:lstStyle/>
          <a:p>
            <a:fld id="{3DF3B2DF-065D-4EFF-B971-1D2D7CCFC7C9}" type="slidenum">
              <a:rPr lang="en-US" smtClean="0"/>
              <a:pPr/>
              <a:t>4</a:t>
            </a:fld>
            <a:r>
              <a:rPr lang="en-US" smtClean="0"/>
              <a:t> </a:t>
            </a:r>
          </a:p>
        </p:txBody>
      </p:sp>
      <p:graphicFrame>
        <p:nvGraphicFramePr>
          <p:cNvPr id="8" name="Chart 7"/>
          <p:cNvGraphicFramePr>
            <a:graphicFrameLocks noGrp="1"/>
          </p:cNvGraphicFramePr>
          <p:nvPr>
            <p:extLst>
              <p:ext uri="{D42A27DB-BD31-4B8C-83A1-F6EECF244321}">
                <p14:modId xmlns:p14="http://schemas.microsoft.com/office/powerpoint/2010/main" xmlns="" val="3004723480"/>
              </p:ext>
            </p:extLst>
          </p:nvPr>
        </p:nvGraphicFramePr>
        <p:xfrm>
          <a:off x="838200" y="879764"/>
          <a:ext cx="6924675" cy="520541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1"/>
          <p:cNvSpPr txBox="1"/>
          <p:nvPr/>
        </p:nvSpPr>
        <p:spPr>
          <a:xfrm>
            <a:off x="3962400" y="1905000"/>
            <a:ext cx="2286000" cy="754824"/>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smtClean="0">
                <a:solidFill>
                  <a:srgbClr val="FF0000"/>
                </a:solidFill>
                <a:latin typeface="Arial" pitchFamily="34" charset="0"/>
                <a:cs typeface="Arial" pitchFamily="34" charset="0"/>
              </a:rPr>
              <a:t>2000/12 </a:t>
            </a:r>
            <a:r>
              <a:rPr lang="en-US" sz="1400" b="1" baseline="0" dirty="0" smtClean="0">
                <a:solidFill>
                  <a:srgbClr val="FF0000"/>
                </a:solidFill>
                <a:latin typeface="Arial" pitchFamily="34" charset="0"/>
                <a:cs typeface="Arial" pitchFamily="34" charset="0"/>
              </a:rPr>
              <a:t>Avg. </a:t>
            </a:r>
          </a:p>
          <a:p>
            <a:pPr algn="ctr"/>
            <a:r>
              <a:rPr lang="en-US" sz="1400" b="1" baseline="0" dirty="0" smtClean="0">
                <a:solidFill>
                  <a:srgbClr val="FF0000"/>
                </a:solidFill>
                <a:latin typeface="Arial" pitchFamily="34" charset="0"/>
                <a:cs typeface="Arial" pitchFamily="34" charset="0"/>
              </a:rPr>
              <a:t>= </a:t>
            </a:r>
            <a:r>
              <a:rPr lang="en-US" sz="1400" b="1" dirty="0" smtClean="0">
                <a:solidFill>
                  <a:srgbClr val="FF0000"/>
                </a:solidFill>
                <a:latin typeface="Arial" pitchFamily="34" charset="0"/>
                <a:cs typeface="Arial" pitchFamily="34" charset="0"/>
              </a:rPr>
              <a:t>5.5</a:t>
            </a:r>
            <a:r>
              <a:rPr lang="en-US" sz="1400" b="1" baseline="0" dirty="0" smtClean="0">
                <a:solidFill>
                  <a:srgbClr val="FF0000"/>
                </a:solidFill>
                <a:latin typeface="Arial" pitchFamily="34" charset="0"/>
                <a:cs typeface="Arial" pitchFamily="34" charset="0"/>
              </a:rPr>
              <a:t>%</a:t>
            </a:r>
            <a:endParaRPr lang="en-US" sz="1400" b="1" dirty="0">
              <a:solidFill>
                <a:srgbClr val="FF0000"/>
              </a:solidFill>
              <a:latin typeface="Arial" pitchFamily="34" charset="0"/>
              <a:cs typeface="Arial" pitchFamily="34" charset="0"/>
            </a:endParaRPr>
          </a:p>
        </p:txBody>
      </p:sp>
      <p:cxnSp>
        <p:nvCxnSpPr>
          <p:cNvPr id="10" name="Straight Connector 9"/>
          <p:cNvCxnSpPr/>
          <p:nvPr/>
        </p:nvCxnSpPr>
        <p:spPr bwMode="auto">
          <a:xfrm>
            <a:off x="1219200" y="2514600"/>
            <a:ext cx="4267200"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sp>
        <p:nvSpPr>
          <p:cNvPr id="12" name="Text Box 9"/>
          <p:cNvSpPr txBox="1">
            <a:spLocks noChangeArrowheads="1"/>
          </p:cNvSpPr>
          <p:nvPr/>
        </p:nvSpPr>
        <p:spPr bwMode="auto">
          <a:xfrm>
            <a:off x="-1" y="6207125"/>
            <a:ext cx="7362825" cy="215444"/>
          </a:xfrm>
          <a:prstGeom prst="rect">
            <a:avLst/>
          </a:prstGeom>
          <a:noFill/>
          <a:ln w="9525">
            <a:noFill/>
            <a:miter lim="800000"/>
            <a:headEnd/>
            <a:tailEnd/>
          </a:ln>
        </p:spPr>
        <p:txBody>
          <a:bodyPr wrap="square">
            <a:spAutoFit/>
          </a:bodyPr>
          <a:lstStyle/>
          <a:p>
            <a:r>
              <a:rPr lang="en-US" sz="800" b="0" dirty="0"/>
              <a:t>Source:  International Monetary Fund (IMF), </a:t>
            </a:r>
            <a:r>
              <a:rPr lang="en-US" sz="800" b="0" dirty="0">
                <a:cs typeface="Arial" charset="0"/>
              </a:rPr>
              <a:t>World </a:t>
            </a:r>
            <a:r>
              <a:rPr lang="en-US" sz="800" b="0" dirty="0" smtClean="0">
                <a:cs typeface="Arial" charset="0"/>
              </a:rPr>
              <a:t>Economic Outlook </a:t>
            </a:r>
            <a:r>
              <a:rPr lang="en-US" sz="800" dirty="0" smtClean="0">
                <a:cs typeface="Arial" charset="0"/>
              </a:rPr>
              <a:t>, October</a:t>
            </a:r>
            <a:r>
              <a:rPr lang="en-US" sz="800" b="0" dirty="0" smtClean="0">
                <a:cs typeface="Arial" charset="0"/>
              </a:rPr>
              <a:t> 08, 2013</a:t>
            </a:r>
            <a:endParaRPr lang="en-US" sz="800" b="0" dirty="0"/>
          </a:p>
        </p:txBody>
      </p:sp>
    </p:spTree>
    <p:extLst>
      <p:ext uri="{BB962C8B-B14F-4D97-AF65-F5344CB8AC3E}">
        <p14:creationId xmlns:p14="http://schemas.microsoft.com/office/powerpoint/2010/main" xmlns="" val="930889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p:cNvGraphicFramePr>
            <a:graphicFrameLocks/>
          </p:cNvGraphicFramePr>
          <p:nvPr>
            <p:extLst>
              <p:ext uri="{D42A27DB-BD31-4B8C-83A1-F6EECF244321}">
                <p14:modId xmlns:p14="http://schemas.microsoft.com/office/powerpoint/2010/main" xmlns="" val="3803536058"/>
              </p:ext>
            </p:extLst>
          </p:nvPr>
        </p:nvGraphicFramePr>
        <p:xfrm>
          <a:off x="1077103" y="734570"/>
          <a:ext cx="7296593" cy="188366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bwMode="auto">
          <a:xfrm>
            <a:off x="4640988" y="1330418"/>
            <a:ext cx="793415" cy="1508437"/>
          </a:xfrm>
          <a:prstGeom prst="rect">
            <a:avLst/>
          </a:prstGeom>
          <a:solidFill>
            <a:schemeClr val="tx1">
              <a:lumMod val="65000"/>
              <a:lumOff val="35000"/>
              <a:alpha val="54118"/>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sz="1000" b="1" dirty="0" smtClean="0">
              <a:latin typeface="Verdana" pitchFamily="34" charset="0"/>
            </a:endParaRPr>
          </a:p>
        </p:txBody>
      </p:sp>
      <p:pic>
        <p:nvPicPr>
          <p:cNvPr id="15" name="Picture 2" descr="BlankMap-World-Continents"/>
          <p:cNvPicPr>
            <a:picLocks noChangeAspect="1" noChangeArrowheads="1"/>
          </p:cNvPicPr>
          <p:nvPr/>
        </p:nvPicPr>
        <p:blipFill>
          <a:blip r:embed="rId4" cstate="print">
            <a:extLst>
              <a:ext uri="{BEBA8EAE-BF5A-486C-A8C5-ECC9F3942E4B}">
                <a14:imgProps xmlns:a14="http://schemas.microsoft.com/office/drawing/2010/main" xmlns="">
                  <a14:imgLayer r:embed="rId5">
                    <a14:imgEffect>
                      <a14:sharpenSoften amount="50000"/>
                    </a14:imgEffect>
                    <a14:imgEffect>
                      <a14:brightnessContrast contrast="-40000"/>
                    </a14:imgEffect>
                  </a14:imgLayer>
                </a14:imgProps>
              </a:ext>
            </a:extLst>
          </a:blip>
          <a:srcRect/>
          <a:stretch>
            <a:fillRect/>
          </a:stretch>
        </p:blipFill>
        <p:spPr bwMode="auto">
          <a:xfrm>
            <a:off x="1448191" y="2934072"/>
            <a:ext cx="6202075" cy="3124200"/>
          </a:xfrm>
          <a:prstGeom prst="rect">
            <a:avLst/>
          </a:prstGeom>
          <a:solidFill>
            <a:srgbClr val="FFCC00">
              <a:alpha val="50195"/>
            </a:srgbClr>
          </a:solidFill>
          <a:ln w="9525" algn="ctr">
            <a:noFill/>
            <a:round/>
            <a:headEnd/>
            <a:tailEnd/>
          </a:ln>
        </p:spPr>
      </p:pic>
      <p:sp>
        <p:nvSpPr>
          <p:cNvPr id="62470" name="Text Box 12"/>
          <p:cNvSpPr txBox="1">
            <a:spLocks noChangeArrowheads="1"/>
          </p:cNvSpPr>
          <p:nvPr/>
        </p:nvSpPr>
        <p:spPr bwMode="auto">
          <a:xfrm>
            <a:off x="1588" y="6208713"/>
            <a:ext cx="7162800" cy="246221"/>
          </a:xfrm>
          <a:prstGeom prst="rect">
            <a:avLst/>
          </a:prstGeom>
          <a:noFill/>
          <a:ln w="9525">
            <a:noFill/>
            <a:miter lim="800000"/>
            <a:headEnd/>
            <a:tailEnd/>
          </a:ln>
        </p:spPr>
        <p:txBody>
          <a:bodyPr>
            <a:spAutoFit/>
          </a:bodyPr>
          <a:lstStyle/>
          <a:p>
            <a:r>
              <a:rPr lang="en-US" sz="1000" b="0" dirty="0"/>
              <a:t>Source: United Nations, World Population Prospects </a:t>
            </a:r>
            <a:r>
              <a:rPr lang="en-US" sz="1000" b="0" dirty="0" smtClean="0"/>
              <a:t>2012 Revision</a:t>
            </a:r>
          </a:p>
        </p:txBody>
      </p:sp>
      <p:sp>
        <p:nvSpPr>
          <p:cNvPr id="16" name="Oval 4"/>
          <p:cNvSpPr>
            <a:spLocks noChangeArrowheads="1"/>
          </p:cNvSpPr>
          <p:nvPr/>
        </p:nvSpPr>
        <p:spPr bwMode="auto">
          <a:xfrm>
            <a:off x="5715000" y="3720104"/>
            <a:ext cx="1449388" cy="1195168"/>
          </a:xfrm>
          <a:prstGeom prst="ellipse">
            <a:avLst/>
          </a:prstGeom>
          <a:solidFill>
            <a:srgbClr val="FFCC00">
              <a:alpha val="50195"/>
            </a:srgbClr>
          </a:solidFill>
          <a:ln w="9525" algn="ctr">
            <a:solidFill>
              <a:schemeClr val="accent3"/>
            </a:solidFill>
            <a:round/>
            <a:headEnd/>
            <a:tailEnd/>
          </a:ln>
        </p:spPr>
        <p:txBody>
          <a:bodyPr lIns="0" rIns="0" anchor="ctr"/>
          <a:lstStyle/>
          <a:p>
            <a:pPr algn="ctr"/>
            <a:r>
              <a:rPr lang="en-US" sz="2000" b="1" dirty="0" smtClean="0"/>
              <a:t>56%</a:t>
            </a:r>
            <a:endParaRPr lang="en-US" sz="2000" b="1" dirty="0"/>
          </a:p>
        </p:txBody>
      </p:sp>
      <p:sp>
        <p:nvSpPr>
          <p:cNvPr id="17" name="Oval 5"/>
          <p:cNvSpPr>
            <a:spLocks noChangeArrowheads="1"/>
          </p:cNvSpPr>
          <p:nvPr/>
        </p:nvSpPr>
        <p:spPr bwMode="auto">
          <a:xfrm>
            <a:off x="3964615" y="4360878"/>
            <a:ext cx="1169225" cy="988024"/>
          </a:xfrm>
          <a:prstGeom prst="ellipse">
            <a:avLst/>
          </a:prstGeom>
          <a:solidFill>
            <a:srgbClr val="FFCC00">
              <a:alpha val="50195"/>
            </a:srgbClr>
          </a:solidFill>
          <a:ln w="9525" algn="ctr">
            <a:solidFill>
              <a:schemeClr val="accent3"/>
            </a:solidFill>
            <a:round/>
            <a:headEnd/>
            <a:tailEnd/>
          </a:ln>
        </p:spPr>
        <p:txBody>
          <a:bodyPr lIns="0" rIns="0" anchor="ctr"/>
          <a:lstStyle/>
          <a:p>
            <a:r>
              <a:rPr lang="en-US" sz="2800" dirty="0" smtClean="0"/>
              <a:t> </a:t>
            </a:r>
            <a:r>
              <a:rPr lang="en-US" sz="2000" b="1" dirty="0" smtClean="0"/>
              <a:t>30%</a:t>
            </a:r>
            <a:endParaRPr lang="en-US" sz="2000" b="1" dirty="0"/>
          </a:p>
        </p:txBody>
      </p:sp>
      <p:sp>
        <p:nvSpPr>
          <p:cNvPr id="18" name="Oval 6"/>
          <p:cNvSpPr>
            <a:spLocks noChangeArrowheads="1"/>
          </p:cNvSpPr>
          <p:nvPr/>
        </p:nvSpPr>
        <p:spPr bwMode="auto">
          <a:xfrm>
            <a:off x="1752600" y="3632819"/>
            <a:ext cx="801186" cy="512105"/>
          </a:xfrm>
          <a:prstGeom prst="ellipse">
            <a:avLst/>
          </a:prstGeom>
          <a:solidFill>
            <a:srgbClr val="FFCC00">
              <a:alpha val="50195"/>
            </a:srgbClr>
          </a:solidFill>
          <a:ln w="9525" algn="ctr">
            <a:solidFill>
              <a:schemeClr val="accent3"/>
            </a:solidFill>
            <a:round/>
            <a:headEnd/>
            <a:tailEnd/>
          </a:ln>
        </p:spPr>
        <p:txBody>
          <a:bodyPr lIns="0" rIns="0" anchor="ctr"/>
          <a:lstStyle/>
          <a:p>
            <a:pPr algn="ctr"/>
            <a:r>
              <a:rPr lang="en-US" sz="1000" b="1" dirty="0" smtClean="0"/>
              <a:t> 4%</a:t>
            </a:r>
            <a:endParaRPr lang="en-US" sz="1000" b="1" dirty="0"/>
          </a:p>
        </p:txBody>
      </p:sp>
      <p:sp>
        <p:nvSpPr>
          <p:cNvPr id="19" name="Oval 7"/>
          <p:cNvSpPr>
            <a:spLocks noChangeArrowheads="1"/>
          </p:cNvSpPr>
          <p:nvPr/>
        </p:nvSpPr>
        <p:spPr bwMode="auto">
          <a:xfrm>
            <a:off x="2431785" y="5011944"/>
            <a:ext cx="921015" cy="550656"/>
          </a:xfrm>
          <a:prstGeom prst="ellipse">
            <a:avLst/>
          </a:prstGeom>
          <a:solidFill>
            <a:srgbClr val="FFCC00">
              <a:alpha val="50195"/>
            </a:srgbClr>
          </a:solidFill>
          <a:ln w="9525" algn="ctr">
            <a:solidFill>
              <a:schemeClr val="accent3"/>
            </a:solidFill>
            <a:round/>
            <a:headEnd/>
            <a:tailEnd/>
          </a:ln>
        </p:spPr>
        <p:txBody>
          <a:bodyPr lIns="45720" rIns="45720" anchor="ctr"/>
          <a:lstStyle/>
          <a:p>
            <a:r>
              <a:rPr lang="en-US" sz="1000" b="1" dirty="0" smtClean="0"/>
              <a:t>  9%</a:t>
            </a:r>
            <a:endParaRPr lang="en-US" sz="1000" b="1" dirty="0"/>
          </a:p>
        </p:txBody>
      </p:sp>
      <p:sp>
        <p:nvSpPr>
          <p:cNvPr id="20" name="Oval 8"/>
          <p:cNvSpPr>
            <a:spLocks noChangeArrowheads="1"/>
          </p:cNvSpPr>
          <p:nvPr/>
        </p:nvSpPr>
        <p:spPr bwMode="auto">
          <a:xfrm>
            <a:off x="4207358" y="3465600"/>
            <a:ext cx="790595" cy="375621"/>
          </a:xfrm>
          <a:prstGeom prst="ellipse">
            <a:avLst/>
          </a:prstGeom>
          <a:solidFill>
            <a:srgbClr val="FFCC00">
              <a:alpha val="50195"/>
            </a:srgbClr>
          </a:solidFill>
          <a:ln w="9525" algn="ctr">
            <a:solidFill>
              <a:schemeClr val="accent3"/>
            </a:solidFill>
            <a:round/>
            <a:headEnd/>
            <a:tailEnd/>
          </a:ln>
        </p:spPr>
        <p:txBody>
          <a:bodyPr lIns="45720" rIns="45720" anchor="ctr"/>
          <a:lstStyle/>
          <a:p>
            <a:pPr algn="ctr"/>
            <a:r>
              <a:rPr lang="en-US" sz="800" b="1" dirty="0" smtClean="0"/>
              <a:t>1.2%</a:t>
            </a:r>
            <a:endParaRPr lang="en-US" sz="800" b="1" dirty="0"/>
          </a:p>
        </p:txBody>
      </p:sp>
      <p:cxnSp>
        <p:nvCxnSpPr>
          <p:cNvPr id="22" name="Straight Connector 21"/>
          <p:cNvCxnSpPr>
            <a:stCxn id="47" idx="2"/>
          </p:cNvCxnSpPr>
          <p:nvPr/>
        </p:nvCxnSpPr>
        <p:spPr bwMode="auto">
          <a:xfrm flipH="1">
            <a:off x="4834517" y="2838855"/>
            <a:ext cx="203179" cy="1873474"/>
          </a:xfrm>
          <a:prstGeom prst="line">
            <a:avLst/>
          </a:prstGeom>
          <a:solidFill>
            <a:schemeClr val="accent1"/>
          </a:solidFill>
          <a:ln w="57150" cap="flat" cmpd="sng" algn="ctr">
            <a:solidFill>
              <a:srgbClr val="FFC000">
                <a:alpha val="36078"/>
              </a:srgbClr>
            </a:solidFill>
            <a:prstDash val="solid"/>
            <a:round/>
            <a:headEnd type="none" w="med" len="med"/>
            <a:tailEnd type="none" w="med" len="med"/>
          </a:ln>
          <a:effectLst/>
        </p:spPr>
      </p:cxnSp>
      <p:cxnSp>
        <p:nvCxnSpPr>
          <p:cNvPr id="40" name="Straight Connector 39"/>
          <p:cNvCxnSpPr/>
          <p:nvPr/>
        </p:nvCxnSpPr>
        <p:spPr bwMode="auto">
          <a:xfrm flipH="1">
            <a:off x="3224148" y="2665764"/>
            <a:ext cx="1794032" cy="2249507"/>
          </a:xfrm>
          <a:prstGeom prst="line">
            <a:avLst/>
          </a:prstGeom>
          <a:solidFill>
            <a:schemeClr val="accent1"/>
          </a:solidFill>
          <a:ln w="57150" cap="flat" cmpd="sng" algn="ctr">
            <a:solidFill>
              <a:srgbClr val="FFC000">
                <a:alpha val="36078"/>
              </a:srgbClr>
            </a:solidFill>
            <a:prstDash val="solid"/>
            <a:round/>
            <a:headEnd type="none" w="med" len="med"/>
            <a:tailEnd type="none" w="med" len="med"/>
          </a:ln>
          <a:effectLst/>
        </p:spPr>
      </p:cxnSp>
      <p:cxnSp>
        <p:nvCxnSpPr>
          <p:cNvPr id="42" name="Straight Connector 41"/>
          <p:cNvCxnSpPr/>
          <p:nvPr/>
        </p:nvCxnSpPr>
        <p:spPr bwMode="auto">
          <a:xfrm>
            <a:off x="4997953" y="2650376"/>
            <a:ext cx="1084433" cy="1308910"/>
          </a:xfrm>
          <a:prstGeom prst="line">
            <a:avLst/>
          </a:prstGeom>
          <a:solidFill>
            <a:schemeClr val="accent1"/>
          </a:solidFill>
          <a:ln w="57150" cap="flat" cmpd="sng" algn="ctr">
            <a:solidFill>
              <a:srgbClr val="FFC000">
                <a:alpha val="36078"/>
              </a:srgbClr>
            </a:solidFill>
            <a:prstDash val="solid"/>
            <a:round/>
            <a:headEnd type="none" w="med" len="med"/>
            <a:tailEnd type="none" w="med" len="med"/>
          </a:ln>
          <a:effectLst/>
        </p:spPr>
      </p:cxnSp>
      <p:cxnSp>
        <p:nvCxnSpPr>
          <p:cNvPr id="37" name="Straight Connector 36"/>
          <p:cNvCxnSpPr/>
          <p:nvPr/>
        </p:nvCxnSpPr>
        <p:spPr bwMode="auto">
          <a:xfrm flipH="1">
            <a:off x="2604589" y="2665764"/>
            <a:ext cx="2458166" cy="1054339"/>
          </a:xfrm>
          <a:prstGeom prst="line">
            <a:avLst/>
          </a:prstGeom>
          <a:solidFill>
            <a:schemeClr val="accent1"/>
          </a:solidFill>
          <a:ln w="57150" cap="flat" cmpd="sng" algn="ctr">
            <a:solidFill>
              <a:srgbClr val="FFC000">
                <a:alpha val="36078"/>
              </a:srgbClr>
            </a:solidFill>
            <a:prstDash val="solid"/>
            <a:round/>
            <a:headEnd type="none" w="med" len="med"/>
            <a:tailEnd type="none" w="med" len="med"/>
          </a:ln>
          <a:effectLst/>
        </p:spPr>
      </p:cxnSp>
      <p:cxnSp>
        <p:nvCxnSpPr>
          <p:cNvPr id="45" name="Straight Connector 44"/>
          <p:cNvCxnSpPr/>
          <p:nvPr/>
        </p:nvCxnSpPr>
        <p:spPr bwMode="auto">
          <a:xfrm flipH="1">
            <a:off x="4593803" y="2627554"/>
            <a:ext cx="468952" cy="838046"/>
          </a:xfrm>
          <a:prstGeom prst="line">
            <a:avLst/>
          </a:prstGeom>
          <a:solidFill>
            <a:schemeClr val="accent1"/>
          </a:solidFill>
          <a:ln w="57150" cap="flat" cmpd="sng" algn="ctr">
            <a:solidFill>
              <a:srgbClr val="FFC000">
                <a:alpha val="36078"/>
              </a:srgbClr>
            </a:solidFill>
            <a:prstDash val="solid"/>
            <a:round/>
            <a:headEnd type="none" w="med" len="med"/>
            <a:tailEnd type="none" w="med" len="med"/>
          </a:ln>
          <a:effectLst/>
        </p:spPr>
      </p:cxnSp>
      <p:sp>
        <p:nvSpPr>
          <p:cNvPr id="62505" name="Rectangle 62504"/>
          <p:cNvSpPr/>
          <p:nvPr/>
        </p:nvSpPr>
        <p:spPr bwMode="auto">
          <a:xfrm>
            <a:off x="5669188" y="1787619"/>
            <a:ext cx="635074" cy="228600"/>
          </a:xfrm>
          <a:prstGeom prst="rect">
            <a:avLst/>
          </a:prstGeom>
          <a:solidFill>
            <a:srgbClr val="FFFFFF">
              <a:alpha val="69804"/>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dirty="0" smtClean="0">
                <a:latin typeface="Verdana" pitchFamily="34" charset="0"/>
              </a:rPr>
              <a:t>7.2</a:t>
            </a:r>
            <a:r>
              <a:rPr lang="en-US" sz="1000" b="1" dirty="0">
                <a:latin typeface="Verdana" pitchFamily="34" charset="0"/>
              </a:rPr>
              <a:t>B</a:t>
            </a:r>
            <a:endParaRPr kumimoji="0" lang="en-US" sz="1000" b="1" i="0" u="none" strike="noStrike" cap="none" normalizeH="0" baseline="0" dirty="0" smtClean="0">
              <a:ln>
                <a:noFill/>
              </a:ln>
              <a:solidFill>
                <a:schemeClr val="tx1"/>
              </a:solidFill>
              <a:effectLst/>
              <a:latin typeface="Verdana" pitchFamily="34" charset="0"/>
            </a:endParaRPr>
          </a:p>
        </p:txBody>
      </p:sp>
      <p:sp>
        <p:nvSpPr>
          <p:cNvPr id="106" name="Rectangle 105"/>
          <p:cNvSpPr/>
          <p:nvPr/>
        </p:nvSpPr>
        <p:spPr bwMode="auto">
          <a:xfrm>
            <a:off x="7040788" y="1641379"/>
            <a:ext cx="559960" cy="222440"/>
          </a:xfrm>
          <a:prstGeom prst="rect">
            <a:avLst/>
          </a:prstGeom>
          <a:solidFill>
            <a:srgbClr val="FFFFFF">
              <a:alpha val="6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dirty="0" smtClean="0">
                <a:latin typeface="Verdana" pitchFamily="34" charset="0"/>
              </a:rPr>
              <a:t>9.6B</a:t>
            </a:r>
            <a:endParaRPr kumimoji="0" lang="en-US" sz="1000" b="1" i="0" u="none" strike="noStrike" cap="none" normalizeH="0" baseline="0" dirty="0" smtClean="0">
              <a:ln>
                <a:noFill/>
              </a:ln>
              <a:solidFill>
                <a:schemeClr val="tx1"/>
              </a:solidFill>
              <a:effectLst/>
              <a:latin typeface="Verdana" pitchFamily="34" charset="0"/>
            </a:endParaRPr>
          </a:p>
        </p:txBody>
      </p:sp>
      <p:sp>
        <p:nvSpPr>
          <p:cNvPr id="107" name="Rectangle 106"/>
          <p:cNvSpPr/>
          <p:nvPr/>
        </p:nvSpPr>
        <p:spPr bwMode="auto">
          <a:xfrm>
            <a:off x="5089914" y="1330419"/>
            <a:ext cx="597229" cy="238652"/>
          </a:xfrm>
          <a:prstGeom prst="rect">
            <a:avLst/>
          </a:prstGeom>
          <a:solidFill>
            <a:srgbClr val="FFFFFF">
              <a:alpha val="6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Verdana" pitchFamily="34" charset="0"/>
              </a:rPr>
              <a:t>2013</a:t>
            </a:r>
          </a:p>
        </p:txBody>
      </p:sp>
      <p:sp>
        <p:nvSpPr>
          <p:cNvPr id="108" name="Rectangle 107"/>
          <p:cNvSpPr/>
          <p:nvPr/>
        </p:nvSpPr>
        <p:spPr bwMode="auto">
          <a:xfrm>
            <a:off x="7421788" y="1103009"/>
            <a:ext cx="587433" cy="240267"/>
          </a:xfrm>
          <a:prstGeom prst="rect">
            <a:avLst/>
          </a:prstGeom>
          <a:solidFill>
            <a:srgbClr val="FFFFFF">
              <a:alpha val="6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Verdana" pitchFamily="34" charset="0"/>
              </a:rPr>
              <a:t>2050</a:t>
            </a:r>
          </a:p>
        </p:txBody>
      </p:sp>
      <p:cxnSp>
        <p:nvCxnSpPr>
          <p:cNvPr id="62518" name="Straight Connector 62517"/>
          <p:cNvCxnSpPr/>
          <p:nvPr/>
        </p:nvCxnSpPr>
        <p:spPr bwMode="auto">
          <a:xfrm flipH="1">
            <a:off x="7976316" y="1299262"/>
            <a:ext cx="2623" cy="212324"/>
          </a:xfrm>
          <a:prstGeom prst="line">
            <a:avLst/>
          </a:prstGeom>
          <a:solidFill>
            <a:schemeClr val="accent1"/>
          </a:solidFill>
          <a:ln w="38100" cap="flat" cmpd="sng" algn="ctr">
            <a:solidFill>
              <a:schemeClr val="bg1"/>
            </a:solidFill>
            <a:prstDash val="solid"/>
            <a:round/>
            <a:headEnd type="none" w="med" len="med"/>
            <a:tailEnd type="none" w="med" len="med"/>
          </a:ln>
          <a:effectLst/>
        </p:spPr>
      </p:cxnSp>
      <p:cxnSp>
        <p:nvCxnSpPr>
          <p:cNvPr id="134" name="Straight Connector 133"/>
          <p:cNvCxnSpPr>
            <a:stCxn id="39" idx="5"/>
          </p:cNvCxnSpPr>
          <p:nvPr/>
        </p:nvCxnSpPr>
        <p:spPr bwMode="auto">
          <a:xfrm>
            <a:off x="5484164" y="1676977"/>
            <a:ext cx="355068" cy="278476"/>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121" name="Oval 120"/>
          <p:cNvSpPr/>
          <p:nvPr/>
        </p:nvSpPr>
        <p:spPr bwMode="auto">
          <a:xfrm>
            <a:off x="7600704" y="1306462"/>
            <a:ext cx="229600" cy="176357"/>
          </a:xfrm>
          <a:prstGeom prst="ellipse">
            <a:avLst/>
          </a:prstGeom>
          <a:solidFill>
            <a:srgbClr val="367C2B">
              <a:alpha val="8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sp>
        <p:nvSpPr>
          <p:cNvPr id="39" name="Oval 38"/>
          <p:cNvSpPr/>
          <p:nvPr/>
        </p:nvSpPr>
        <p:spPr bwMode="auto">
          <a:xfrm>
            <a:off x="5288188" y="1526447"/>
            <a:ext cx="229600" cy="176357"/>
          </a:xfrm>
          <a:prstGeom prst="ellipse">
            <a:avLst/>
          </a:prstGeom>
          <a:solidFill>
            <a:srgbClr val="367C2B">
              <a:alpha val="8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sp>
        <p:nvSpPr>
          <p:cNvPr id="62496" name="Title 62495"/>
          <p:cNvSpPr>
            <a:spLocks noGrp="1"/>
          </p:cNvSpPr>
          <p:nvPr>
            <p:ph type="title"/>
          </p:nvPr>
        </p:nvSpPr>
        <p:spPr>
          <a:xfrm>
            <a:off x="213766" y="228600"/>
            <a:ext cx="8750300" cy="646113"/>
          </a:xfrm>
        </p:spPr>
        <p:txBody>
          <a:bodyPr/>
          <a:lstStyle/>
          <a:p>
            <a:r>
              <a:rPr lang="en-US" dirty="0" smtClean="0">
                <a:solidFill>
                  <a:schemeClr val="tx2"/>
                </a:solidFill>
              </a:rPr>
              <a:t>Population Growth in Emerging Markets </a:t>
            </a:r>
            <a:r>
              <a:rPr lang="en-US" sz="1600" dirty="0" smtClean="0">
                <a:solidFill>
                  <a:schemeClr val="tx2"/>
                </a:solidFill>
              </a:rPr>
              <a:t/>
            </a:r>
            <a:br>
              <a:rPr lang="en-US" sz="1600" dirty="0" smtClean="0">
                <a:solidFill>
                  <a:schemeClr val="tx2"/>
                </a:solidFill>
              </a:rPr>
            </a:br>
            <a:r>
              <a:rPr lang="en-US" sz="1600" dirty="0" smtClean="0">
                <a:solidFill>
                  <a:schemeClr val="tx2"/>
                </a:solidFill>
              </a:rPr>
              <a:t>Geographic </a:t>
            </a:r>
            <a:r>
              <a:rPr lang="en-US" sz="1600" dirty="0">
                <a:solidFill>
                  <a:schemeClr val="tx2"/>
                </a:solidFill>
              </a:rPr>
              <a:t>Distribution of Population </a:t>
            </a:r>
            <a:r>
              <a:rPr lang="en-US" sz="1600" dirty="0" smtClean="0">
                <a:solidFill>
                  <a:schemeClr val="tx2"/>
                </a:solidFill>
              </a:rPr>
              <a:t>Growth, 2000 to 2013</a:t>
            </a:r>
            <a:endParaRPr lang="en-US" sz="1600" dirty="0"/>
          </a:p>
        </p:txBody>
      </p:sp>
      <p:cxnSp>
        <p:nvCxnSpPr>
          <p:cNvPr id="32" name="Straight Connector 31"/>
          <p:cNvCxnSpPr>
            <a:stCxn id="121" idx="4"/>
          </p:cNvCxnSpPr>
          <p:nvPr/>
        </p:nvCxnSpPr>
        <p:spPr bwMode="auto">
          <a:xfrm flipH="1">
            <a:off x="7471271" y="1482819"/>
            <a:ext cx="244233" cy="270350"/>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33" name="Rectangle 32"/>
          <p:cNvSpPr/>
          <p:nvPr/>
        </p:nvSpPr>
        <p:spPr bwMode="auto">
          <a:xfrm>
            <a:off x="3861297" y="1820788"/>
            <a:ext cx="635074" cy="228600"/>
          </a:xfrm>
          <a:prstGeom prst="rect">
            <a:avLst/>
          </a:prstGeom>
          <a:solidFill>
            <a:srgbClr val="FFFFFF">
              <a:alpha val="69804"/>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000" b="1" dirty="0" smtClean="0">
                <a:latin typeface="Verdana" pitchFamily="34" charset="0"/>
              </a:rPr>
              <a:t>6.1B</a:t>
            </a:r>
            <a:endParaRPr kumimoji="0" lang="en-US" sz="1000" b="1" i="0" u="none" strike="noStrike" cap="none" normalizeH="0" baseline="0" dirty="0" smtClean="0">
              <a:ln>
                <a:noFill/>
              </a:ln>
              <a:solidFill>
                <a:schemeClr val="tx1"/>
              </a:solidFill>
              <a:effectLst/>
              <a:latin typeface="Verdana" pitchFamily="34" charset="0"/>
            </a:endParaRPr>
          </a:p>
        </p:txBody>
      </p:sp>
      <p:cxnSp>
        <p:nvCxnSpPr>
          <p:cNvPr id="34" name="Straight Connector 33"/>
          <p:cNvCxnSpPr>
            <a:endCxn id="33" idx="3"/>
          </p:cNvCxnSpPr>
          <p:nvPr/>
        </p:nvCxnSpPr>
        <p:spPr bwMode="auto">
          <a:xfrm flipH="1">
            <a:off x="4496371" y="1599579"/>
            <a:ext cx="185090" cy="335509"/>
          </a:xfrm>
          <a:prstGeom prst="line">
            <a:avLst/>
          </a:prstGeom>
          <a:solidFill>
            <a:schemeClr val="accent1"/>
          </a:solidFill>
          <a:ln w="38100" cap="flat" cmpd="sng" algn="ctr">
            <a:solidFill>
              <a:schemeClr val="bg1"/>
            </a:solidFill>
            <a:prstDash val="solid"/>
            <a:round/>
            <a:headEnd type="none" w="med" len="med"/>
            <a:tailEnd type="none" w="med" len="med"/>
          </a:ln>
          <a:effectLst/>
        </p:spPr>
      </p:cxnSp>
      <p:sp>
        <p:nvSpPr>
          <p:cNvPr id="38" name="Rectangle 37"/>
          <p:cNvSpPr/>
          <p:nvPr/>
        </p:nvSpPr>
        <p:spPr bwMode="auto">
          <a:xfrm>
            <a:off x="4373788" y="1406619"/>
            <a:ext cx="587433" cy="240267"/>
          </a:xfrm>
          <a:prstGeom prst="rect">
            <a:avLst/>
          </a:prstGeom>
          <a:solidFill>
            <a:srgbClr val="FFFFFF">
              <a:alpha val="6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Verdana" pitchFamily="34" charset="0"/>
              </a:rPr>
              <a:t>2000</a:t>
            </a:r>
          </a:p>
        </p:txBody>
      </p:sp>
      <p:sp>
        <p:nvSpPr>
          <p:cNvPr id="41" name="Oval 40"/>
          <p:cNvSpPr/>
          <p:nvPr/>
        </p:nvSpPr>
        <p:spPr bwMode="auto">
          <a:xfrm>
            <a:off x="4526188" y="1611262"/>
            <a:ext cx="229600" cy="176357"/>
          </a:xfrm>
          <a:prstGeom prst="ellipse">
            <a:avLst/>
          </a:prstGeom>
          <a:solidFill>
            <a:srgbClr val="367C2B">
              <a:alpha val="80000"/>
            </a:srgbClr>
          </a:solidFill>
          <a:ln w="9525" cap="flat" cmpd="sng" algn="ctr">
            <a:solidFill>
              <a:schemeClr val="bg2">
                <a:lumMod val="9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sp>
        <p:nvSpPr>
          <p:cNvPr id="47" name="Rectangle 46"/>
          <p:cNvSpPr/>
          <p:nvPr/>
        </p:nvSpPr>
        <p:spPr bwMode="auto">
          <a:xfrm>
            <a:off x="4640988" y="2473419"/>
            <a:ext cx="793415" cy="365436"/>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Verdana" pitchFamily="34" charset="0"/>
              </a:rPr>
              <a:t>1.1B</a:t>
            </a:r>
          </a:p>
        </p:txBody>
      </p:sp>
      <p:sp>
        <p:nvSpPr>
          <p:cNvPr id="35" name="Text Box 12"/>
          <p:cNvSpPr txBox="1">
            <a:spLocks noChangeArrowheads="1"/>
          </p:cNvSpPr>
          <p:nvPr/>
        </p:nvSpPr>
        <p:spPr bwMode="auto">
          <a:xfrm>
            <a:off x="1588" y="5827440"/>
            <a:ext cx="7162800" cy="246221"/>
          </a:xfrm>
          <a:prstGeom prst="rect">
            <a:avLst/>
          </a:prstGeom>
          <a:noFill/>
          <a:ln w="9525">
            <a:noFill/>
            <a:miter lim="800000"/>
            <a:headEnd/>
            <a:tailEnd/>
          </a:ln>
        </p:spPr>
        <p:txBody>
          <a:bodyPr>
            <a:spAutoFit/>
          </a:bodyPr>
          <a:lstStyle/>
          <a:p>
            <a:r>
              <a:rPr lang="en-US" sz="1000" dirty="0" smtClean="0"/>
              <a:t>*More Developed Regions: Europe, North America, Japan, Australia, New Zealand</a:t>
            </a:r>
            <a:endParaRPr lang="en-US" sz="1000" b="0" dirty="0"/>
          </a:p>
        </p:txBody>
      </p:sp>
      <p:sp>
        <p:nvSpPr>
          <p:cNvPr id="36" name="Slide Number Placeholder 4"/>
          <p:cNvSpPr>
            <a:spLocks noGrp="1"/>
          </p:cNvSpPr>
          <p:nvPr>
            <p:ph type="sldNum" sz="quarter" idx="11"/>
          </p:nvPr>
        </p:nvSpPr>
        <p:spPr>
          <a:xfrm>
            <a:off x="392113" y="6453188"/>
            <a:ext cx="228600" cy="228600"/>
          </a:xfrm>
        </p:spPr>
        <p:txBody>
          <a:bodyPr/>
          <a:lstStyle/>
          <a:p>
            <a:pPr>
              <a:defRPr/>
            </a:pPr>
            <a:fld id="{885573C4-83F9-459F-9CA2-6A277815F0DF}" type="slidenum">
              <a:rPr lang="en-US" smtClean="0"/>
              <a:pPr>
                <a:defRPr/>
              </a:pPr>
              <a:t>5</a:t>
            </a:fld>
            <a:endParaRPr lang="en-US"/>
          </a:p>
        </p:txBody>
      </p:sp>
    </p:spTree>
    <p:extLst>
      <p:ext uri="{BB962C8B-B14F-4D97-AF65-F5344CB8AC3E}">
        <p14:creationId xmlns:p14="http://schemas.microsoft.com/office/powerpoint/2010/main" xmlns="" val="748081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extLst>
              <p:ext uri="{D42A27DB-BD31-4B8C-83A1-F6EECF244321}">
                <p14:modId xmlns:p14="http://schemas.microsoft.com/office/powerpoint/2010/main" xmlns="" val="1085701707"/>
              </p:ext>
            </p:extLst>
          </p:nvPr>
        </p:nvGraphicFramePr>
        <p:xfrm>
          <a:off x="620713" y="928688"/>
          <a:ext cx="7810500" cy="4766056"/>
        </p:xfrm>
        <a:graphic>
          <a:graphicData uri="http://schemas.openxmlformats.org/presentationml/2006/ole">
            <p:oleObj spid="_x0000_s25614" name="Worksheet" r:id="rId4" imgW="8677343" imgH="5934165" progId="Excel.Sheet.12">
              <p:link updateAutomatic="1"/>
            </p:oleObj>
          </a:graphicData>
        </a:graphic>
      </p:graphicFrame>
      <p:sp>
        <p:nvSpPr>
          <p:cNvPr id="41987" name="Rectangle 18"/>
          <p:cNvSpPr>
            <a:spLocks noGrp="1" noChangeArrowheads="1"/>
          </p:cNvSpPr>
          <p:nvPr>
            <p:ph type="title"/>
          </p:nvPr>
        </p:nvSpPr>
        <p:spPr/>
        <p:txBody>
          <a:bodyPr/>
          <a:lstStyle/>
          <a:p>
            <a:pPr eaLnBrk="1" hangingPunct="1"/>
            <a:r>
              <a:rPr lang="en-US" dirty="0" smtClean="0"/>
              <a:t>Global Grains</a:t>
            </a:r>
            <a:br>
              <a:rPr lang="en-US" dirty="0" smtClean="0"/>
            </a:br>
            <a:r>
              <a:rPr lang="en-US" sz="1800" i="1" dirty="0" smtClean="0"/>
              <a:t>Production and Consumption</a:t>
            </a:r>
          </a:p>
        </p:txBody>
      </p:sp>
      <p:sp>
        <p:nvSpPr>
          <p:cNvPr id="41988" name="Slide Number Placeholder 3"/>
          <p:cNvSpPr>
            <a:spLocks noGrp="1"/>
          </p:cNvSpPr>
          <p:nvPr>
            <p:ph type="sldNum" sz="quarter" idx="11"/>
          </p:nvPr>
        </p:nvSpPr>
        <p:spPr>
          <a:prstGeom prst="rect">
            <a:avLst/>
          </a:prstGeom>
          <a:noFill/>
        </p:spPr>
        <p:txBody>
          <a:bodyPr/>
          <a:lstStyle/>
          <a:p>
            <a:fld id="{52BCE282-E18E-4EA4-A03B-3B0596D759DE}" type="slidenum">
              <a:rPr lang="en-US" smtClean="0"/>
              <a:pPr/>
              <a:t>6</a:t>
            </a:fld>
            <a:r>
              <a:rPr lang="en-US" smtClean="0"/>
              <a:t> </a:t>
            </a:r>
          </a:p>
        </p:txBody>
      </p:sp>
      <p:sp>
        <p:nvSpPr>
          <p:cNvPr id="6" name="Content Placeholder 5"/>
          <p:cNvSpPr>
            <a:spLocks noGrp="1"/>
          </p:cNvSpPr>
          <p:nvPr>
            <p:ph idx="4294967295"/>
          </p:nvPr>
        </p:nvSpPr>
        <p:spPr>
          <a:xfrm>
            <a:off x="0" y="1481138"/>
            <a:ext cx="8228013" cy="4522787"/>
          </a:xfrm>
        </p:spPr>
        <p:txBody>
          <a:bodyPr/>
          <a:lstStyle/>
          <a:p>
            <a:r>
              <a:rPr lang="en-US" dirty="0" smtClean="0"/>
              <a:t> </a:t>
            </a:r>
            <a:endParaRPr lang="en-US" dirty="0"/>
          </a:p>
        </p:txBody>
      </p:sp>
      <p:sp>
        <p:nvSpPr>
          <p:cNvPr id="9" name="Text Box 778"/>
          <p:cNvSpPr txBox="1">
            <a:spLocks noChangeArrowheads="1"/>
          </p:cNvSpPr>
          <p:nvPr/>
        </p:nvSpPr>
        <p:spPr bwMode="auto">
          <a:xfrm>
            <a:off x="0" y="6207125"/>
            <a:ext cx="3276600" cy="215444"/>
          </a:xfrm>
          <a:prstGeom prst="rect">
            <a:avLst/>
          </a:prstGeom>
          <a:noFill/>
          <a:ln w="9525">
            <a:noFill/>
            <a:miter lim="800000"/>
            <a:headEnd/>
            <a:tailEnd/>
          </a:ln>
        </p:spPr>
        <p:txBody>
          <a:bodyPr>
            <a:spAutoFit/>
          </a:bodyPr>
          <a:lstStyle/>
          <a:p>
            <a:r>
              <a:rPr lang="en-US" sz="800" b="0" dirty="0"/>
              <a:t>Source: USDA/WASDE, </a:t>
            </a:r>
            <a:r>
              <a:rPr lang="en-US" sz="800" dirty="0" smtClean="0"/>
              <a:t>September</a:t>
            </a:r>
            <a:r>
              <a:rPr lang="en-US" sz="800" b="0" dirty="0" smtClean="0"/>
              <a:t> 2013</a:t>
            </a:r>
            <a:endParaRPr lang="en-US" sz="800" b="0" dirty="0">
              <a:cs typeface="Arial" charset="0"/>
            </a:endParaRPr>
          </a:p>
        </p:txBody>
      </p:sp>
      <p:sp>
        <p:nvSpPr>
          <p:cNvPr id="10" name="Oval 9"/>
          <p:cNvSpPr/>
          <p:nvPr/>
        </p:nvSpPr>
        <p:spPr bwMode="auto">
          <a:xfrm>
            <a:off x="7467600" y="1447800"/>
            <a:ext cx="838200" cy="7620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sp>
        <p:nvSpPr>
          <p:cNvPr id="2" name="TextBox 1"/>
          <p:cNvSpPr txBox="1"/>
          <p:nvPr/>
        </p:nvSpPr>
        <p:spPr>
          <a:xfrm>
            <a:off x="1053294" y="5469897"/>
            <a:ext cx="7171481" cy="606813"/>
          </a:xfrm>
          <a:prstGeom prst="rect">
            <a:avLst/>
          </a:prstGeom>
          <a:noFill/>
        </p:spPr>
        <p:txBody>
          <a:bodyPr wrap="none" lIns="0" tIns="0" rIns="0" bIns="0" rtlCol="0" anchor="ctr">
            <a:noAutofit/>
          </a:bodyPr>
          <a:lstStyle/>
          <a:p>
            <a:pPr algn="ctr"/>
            <a:r>
              <a:rPr lang="en-US" sz="1600" dirty="0" smtClean="0">
                <a:latin typeface="Verdana"/>
                <a:cs typeface="Verdana"/>
              </a:rPr>
              <a:t>Consumption has exceeded production 8 of the last 14 years</a:t>
            </a:r>
          </a:p>
        </p:txBody>
      </p:sp>
    </p:spTree>
    <p:extLst>
      <p:ext uri="{BB962C8B-B14F-4D97-AF65-F5344CB8AC3E}">
        <p14:creationId xmlns:p14="http://schemas.microsoft.com/office/powerpoint/2010/main" xmlns="" val="1387252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ext Box 9"/>
          <p:cNvSpPr txBox="1">
            <a:spLocks noChangeArrowheads="1"/>
          </p:cNvSpPr>
          <p:nvPr/>
        </p:nvSpPr>
        <p:spPr bwMode="auto">
          <a:xfrm>
            <a:off x="0" y="6172200"/>
            <a:ext cx="3276600" cy="215444"/>
          </a:xfrm>
          <a:prstGeom prst="rect">
            <a:avLst/>
          </a:prstGeom>
          <a:noFill/>
          <a:ln w="9525">
            <a:noFill/>
            <a:miter lim="800000"/>
            <a:headEnd/>
            <a:tailEnd/>
          </a:ln>
        </p:spPr>
        <p:txBody>
          <a:bodyPr>
            <a:spAutoFit/>
          </a:bodyPr>
          <a:lstStyle/>
          <a:p>
            <a:r>
              <a:rPr lang="en-US" sz="800" b="0" dirty="0"/>
              <a:t>Source: Informa Economics, </a:t>
            </a:r>
            <a:r>
              <a:rPr lang="en-US" sz="800" dirty="0" smtClean="0"/>
              <a:t>September </a:t>
            </a:r>
            <a:r>
              <a:rPr lang="en-US" sz="800" b="0" dirty="0" smtClean="0"/>
              <a:t>2013</a:t>
            </a:r>
            <a:endParaRPr lang="en-US" sz="800" b="0" dirty="0">
              <a:cs typeface="Arial" charset="0"/>
            </a:endParaRPr>
          </a:p>
        </p:txBody>
      </p:sp>
      <p:sp>
        <p:nvSpPr>
          <p:cNvPr id="78851" name="Title 649"/>
          <p:cNvSpPr>
            <a:spLocks noGrp="1"/>
          </p:cNvSpPr>
          <p:nvPr>
            <p:ph type="title"/>
          </p:nvPr>
        </p:nvSpPr>
        <p:spPr/>
        <p:txBody>
          <a:bodyPr/>
          <a:lstStyle/>
          <a:p>
            <a:pPr eaLnBrk="1" hangingPunct="1"/>
            <a:r>
              <a:rPr lang="en-US" dirty="0" smtClean="0"/>
              <a:t>CRB Futures Index – All Commodities</a:t>
            </a:r>
            <a:br>
              <a:rPr lang="en-US" dirty="0" smtClean="0"/>
            </a:br>
            <a:r>
              <a:rPr lang="en-US" sz="1800" i="1" dirty="0" smtClean="0"/>
              <a:t>January 1970 – September 2013</a:t>
            </a:r>
            <a:endParaRPr lang="en-US" dirty="0" smtClean="0"/>
          </a:p>
        </p:txBody>
      </p:sp>
      <p:sp>
        <p:nvSpPr>
          <p:cNvPr id="36" name="Slide Number Placeholder 3"/>
          <p:cNvSpPr>
            <a:spLocks noGrp="1"/>
          </p:cNvSpPr>
          <p:nvPr>
            <p:ph type="sldNum" sz="quarter" idx="4294967295"/>
          </p:nvPr>
        </p:nvSpPr>
        <p:spPr>
          <a:xfrm>
            <a:off x="347663" y="6453188"/>
            <a:ext cx="192087" cy="231775"/>
          </a:xfrm>
          <a:prstGeom prst="rect">
            <a:avLst/>
          </a:prstGeom>
        </p:spPr>
        <p:txBody>
          <a:bodyPr/>
          <a:lstStyle/>
          <a:p>
            <a:pPr fontAlgn="base">
              <a:spcBef>
                <a:spcPct val="0"/>
              </a:spcBef>
              <a:spcAft>
                <a:spcPct val="0"/>
              </a:spcAft>
            </a:pPr>
            <a:fld id="{5A537E9F-00D5-8F42-9615-7244FC281F3F}" type="slidenum">
              <a:rPr lang="en-US" smtClean="0"/>
              <a:pPr fontAlgn="base">
                <a:spcBef>
                  <a:spcPct val="0"/>
                </a:spcBef>
                <a:spcAft>
                  <a:spcPct val="0"/>
                </a:spcAft>
              </a:pPr>
              <a:t>7</a:t>
            </a:fld>
            <a:endParaRPr lang="en-US" dirty="0"/>
          </a:p>
        </p:txBody>
      </p:sp>
      <p:sp>
        <p:nvSpPr>
          <p:cNvPr id="10" name="Rounded Rectangle 9"/>
          <p:cNvSpPr/>
          <p:nvPr/>
        </p:nvSpPr>
        <p:spPr bwMode="auto">
          <a:xfrm>
            <a:off x="2678509" y="914400"/>
            <a:ext cx="3429000" cy="533400"/>
          </a:xfrm>
          <a:prstGeom prst="round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Verdana" pitchFamily="34" charset="0"/>
            </a:endParaRPr>
          </a:p>
        </p:txBody>
      </p:sp>
      <p:pic>
        <p:nvPicPr>
          <p:cNvPr id="86937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85800" y="1181100"/>
            <a:ext cx="7772400" cy="459709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7208882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6" name="AutoShape 6"/>
          <p:cNvSpPr>
            <a:spLocks noChangeArrowheads="1"/>
          </p:cNvSpPr>
          <p:nvPr>
            <p:custDataLst>
              <p:tags r:id="rId2"/>
            </p:custDataLst>
          </p:nvPr>
        </p:nvSpPr>
        <p:spPr bwMode="gray">
          <a:xfrm>
            <a:off x="503770" y="1041850"/>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sp>
        <p:nvSpPr>
          <p:cNvPr id="307208" name="AutoShape 8"/>
          <p:cNvSpPr>
            <a:spLocks noChangeArrowheads="1"/>
          </p:cNvSpPr>
          <p:nvPr>
            <p:custDataLst>
              <p:tags r:id="rId3"/>
            </p:custDataLst>
          </p:nvPr>
        </p:nvSpPr>
        <p:spPr bwMode="gray">
          <a:xfrm>
            <a:off x="658137" y="3998971"/>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graphicFrame>
        <p:nvGraphicFramePr>
          <p:cNvPr id="307202" name="Rectangle 2" hidden="1"/>
          <p:cNvGraphicFramePr>
            <a:graphicFrameLocks/>
          </p:cNvGraphicFramePr>
          <p:nvPr>
            <p:custDataLst>
              <p:tags r:id="rId4"/>
            </p:custDataLst>
          </p:nvPr>
        </p:nvGraphicFramePr>
        <p:xfrm>
          <a:off x="0" y="0"/>
          <a:ext cx="161925" cy="161925"/>
        </p:xfrm>
        <a:graphic>
          <a:graphicData uri="http://schemas.openxmlformats.org/presentationml/2006/ole">
            <p:oleObj spid="_x0000_s29699" name="think-cell Slide" r:id="rId12" imgW="0" imgH="0" progId="">
              <p:embed/>
            </p:oleObj>
          </a:graphicData>
        </a:graphic>
      </p:graphicFrame>
      <p:sp>
        <p:nvSpPr>
          <p:cNvPr id="362499" name="Rectangle 3"/>
          <p:cNvSpPr>
            <a:spLocks noGrp="1" noChangeArrowheads="1"/>
          </p:cNvSpPr>
          <p:nvPr>
            <p:ph type="title"/>
            <p:custDataLst>
              <p:tags r:id="rId5"/>
            </p:custDataLst>
          </p:nvPr>
        </p:nvSpPr>
        <p:spPr bwMode="gray"/>
        <p:txBody>
          <a:bodyPr/>
          <a:lstStyle/>
          <a:p>
            <a:pPr fontAlgn="auto">
              <a:spcAft>
                <a:spcPts val="0"/>
              </a:spcAft>
              <a:defRPr/>
            </a:pPr>
            <a:r>
              <a:rPr lang="en-US" altLang="ko-KR" dirty="0">
                <a:ea typeface="Gulim" pitchFamily="34" charset="-127"/>
              </a:rPr>
              <a:t>Key </a:t>
            </a:r>
            <a:r>
              <a:rPr lang="en-US" altLang="ko-KR" dirty="0" smtClean="0">
                <a:ea typeface="Gulim" pitchFamily="34" charset="-127"/>
              </a:rPr>
              <a:t>Messages</a:t>
            </a:r>
            <a:endParaRPr lang="en-US" altLang="ko-KR" dirty="0">
              <a:ea typeface="Gulim" pitchFamily="34" charset="-127"/>
            </a:endParaRPr>
          </a:p>
        </p:txBody>
      </p:sp>
      <p:sp>
        <p:nvSpPr>
          <p:cNvPr id="307210" name="Rectangle 6"/>
          <p:cNvSpPr>
            <a:spLocks noChangeArrowheads="1"/>
          </p:cNvSpPr>
          <p:nvPr>
            <p:custDataLst>
              <p:tags r:id="rId6"/>
            </p:custDataLst>
          </p:nvPr>
        </p:nvSpPr>
        <p:spPr bwMode="gray">
          <a:xfrm>
            <a:off x="3937022" y="1403739"/>
            <a:ext cx="4329097" cy="1107996"/>
          </a:xfrm>
          <a:prstGeom prst="rect">
            <a:avLst/>
          </a:prstGeom>
          <a:noFill/>
          <a:ln w="9525">
            <a:noFill/>
            <a:miter lim="800000"/>
            <a:headEnd/>
            <a:tailEnd/>
          </a:ln>
        </p:spPr>
        <p:txBody>
          <a:bodyPr wrap="square" lIns="0" tIns="0" rIns="0" bIns="0" anchor="ctr">
            <a:spAutoFit/>
          </a:bodyPr>
          <a:lstStyle/>
          <a:p>
            <a:pPr defTabSz="912813"/>
            <a:r>
              <a:rPr lang="en-US" dirty="0">
                <a:latin typeface="Verdana" pitchFamily="34" charset="0"/>
                <a:ea typeface="Gulim" pitchFamily="34" charset="-127"/>
              </a:rPr>
              <a:t>The potential for increased Ag production in Africa is enormous and some countries matter more than others</a:t>
            </a:r>
            <a:endParaRPr lang="en-US" altLang="ko-KR" dirty="0">
              <a:latin typeface="Verdana" pitchFamily="34" charset="0"/>
              <a:ea typeface="Gulim" pitchFamily="34" charset="-127"/>
            </a:endParaRPr>
          </a:p>
        </p:txBody>
      </p:sp>
      <p:sp>
        <p:nvSpPr>
          <p:cNvPr id="307212" name="Rectangle 15"/>
          <p:cNvSpPr>
            <a:spLocks noChangeArrowheads="1"/>
          </p:cNvSpPr>
          <p:nvPr>
            <p:custDataLst>
              <p:tags r:id="rId7"/>
            </p:custDataLst>
          </p:nvPr>
        </p:nvSpPr>
        <p:spPr bwMode="gray">
          <a:xfrm>
            <a:off x="4135271" y="4499359"/>
            <a:ext cx="4331865" cy="830997"/>
          </a:xfrm>
          <a:prstGeom prst="rect">
            <a:avLst/>
          </a:prstGeom>
          <a:noFill/>
          <a:ln w="9525">
            <a:noFill/>
            <a:miter lim="800000"/>
            <a:headEnd/>
            <a:tailEnd/>
          </a:ln>
        </p:spPr>
        <p:txBody>
          <a:bodyPr wrap="square" lIns="0" tIns="0" rIns="0" bIns="0" anchor="ctr">
            <a:spAutoFit/>
          </a:bodyPr>
          <a:lstStyle/>
          <a:p>
            <a:pPr lvl="0"/>
            <a:r>
              <a:rPr lang="en-US" dirty="0">
                <a:latin typeface="Verdana" pitchFamily="34" charset="0"/>
                <a:ea typeface="Gulim" pitchFamily="34" charset="-127"/>
              </a:rPr>
              <a:t>Factors other than agronomic potential will enable or constrain </a:t>
            </a:r>
            <a:r>
              <a:rPr lang="en-US" dirty="0" smtClean="0">
                <a:latin typeface="Verdana" pitchFamily="34" charset="0"/>
                <a:ea typeface="Gulim" pitchFamily="34" charset="-127"/>
              </a:rPr>
              <a:t>each country’s growth </a:t>
            </a:r>
            <a:r>
              <a:rPr lang="en-US" dirty="0">
                <a:latin typeface="Verdana" pitchFamily="34" charset="0"/>
                <a:ea typeface="Gulim" pitchFamily="34" charset="-127"/>
              </a:rPr>
              <a:t>potential.</a:t>
            </a:r>
          </a:p>
        </p:txBody>
      </p:sp>
      <p:sp>
        <p:nvSpPr>
          <p:cNvPr id="307218" name="Rectangle 18"/>
          <p:cNvSpPr>
            <a:spLocks noChangeArrowheads="1"/>
          </p:cNvSpPr>
          <p:nvPr>
            <p:custDataLst>
              <p:tags r:id="rId8"/>
            </p:custDataLst>
          </p:nvPr>
        </p:nvSpPr>
        <p:spPr bwMode="auto">
          <a:xfrm>
            <a:off x="1255713" y="929820"/>
            <a:ext cx="1781175" cy="1501775"/>
          </a:xfrm>
          <a:prstGeom prst="rect">
            <a:avLst/>
          </a:prstGeom>
          <a:noFill/>
          <a:ln w="9525">
            <a:noFill/>
            <a:miter lim="800000"/>
            <a:headEnd/>
            <a:tailEnd/>
          </a:ln>
          <a:effectLst/>
        </p:spPr>
        <p:txBody>
          <a:bodyPr wrap="none" anchor="ctr"/>
          <a:lstStyle/>
          <a:p>
            <a:endParaRPr lang="en-US" sz="1600"/>
          </a:p>
        </p:txBody>
      </p:sp>
      <p:sp>
        <p:nvSpPr>
          <p:cNvPr id="307219" name="Rectangle 19"/>
          <p:cNvSpPr>
            <a:spLocks noChangeArrowheads="1"/>
          </p:cNvSpPr>
          <p:nvPr>
            <p:custDataLst>
              <p:tags r:id="rId9"/>
            </p:custDataLst>
          </p:nvPr>
        </p:nvSpPr>
        <p:spPr bwMode="auto">
          <a:xfrm>
            <a:off x="1255713" y="2610983"/>
            <a:ext cx="1781175" cy="1501775"/>
          </a:xfrm>
          <a:prstGeom prst="rect">
            <a:avLst/>
          </a:prstGeom>
          <a:noFill/>
          <a:ln w="9525">
            <a:noFill/>
            <a:miter lim="800000"/>
            <a:headEnd/>
            <a:tailEnd/>
          </a:ln>
          <a:effectLst/>
        </p:spPr>
        <p:txBody>
          <a:bodyPr wrap="none" anchor="ctr"/>
          <a:lstStyle/>
          <a:p>
            <a:pPr algn="ctr"/>
            <a:endParaRPr lang="en-US" sz="1600"/>
          </a:p>
        </p:txBody>
      </p:sp>
    </p:spTree>
    <p:extLst>
      <p:ext uri="{BB962C8B-B14F-4D97-AF65-F5344CB8AC3E}">
        <p14:creationId xmlns:p14="http://schemas.microsoft.com/office/powerpoint/2010/main" xmlns="" val="1905674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6" name="AutoShape 6"/>
          <p:cNvSpPr>
            <a:spLocks noChangeArrowheads="1"/>
          </p:cNvSpPr>
          <p:nvPr>
            <p:custDataLst>
              <p:tags r:id="rId2"/>
            </p:custDataLst>
          </p:nvPr>
        </p:nvSpPr>
        <p:spPr bwMode="gray">
          <a:xfrm>
            <a:off x="503770" y="1041850"/>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sp>
        <p:nvSpPr>
          <p:cNvPr id="307208" name="AutoShape 8"/>
          <p:cNvSpPr>
            <a:spLocks noChangeArrowheads="1"/>
          </p:cNvSpPr>
          <p:nvPr>
            <p:custDataLst>
              <p:tags r:id="rId3"/>
            </p:custDataLst>
          </p:nvPr>
        </p:nvSpPr>
        <p:spPr bwMode="gray">
          <a:xfrm>
            <a:off x="658137" y="3998971"/>
            <a:ext cx="8164513" cy="1814793"/>
          </a:xfrm>
          <a:prstGeom prst="roundRect">
            <a:avLst>
              <a:gd name="adj" fmla="val 50000"/>
            </a:avLst>
          </a:prstGeom>
          <a:gradFill rotWithShape="1">
            <a:gsLst>
              <a:gs pos="0">
                <a:schemeClr val="bg1"/>
              </a:gs>
              <a:gs pos="100000">
                <a:schemeClr val="accent2">
                  <a:lumMod val="60000"/>
                  <a:lumOff val="40000"/>
                </a:schemeClr>
              </a:gs>
            </a:gsLst>
            <a:lin ang="0" scaled="1"/>
          </a:gradFill>
          <a:ln w="9525">
            <a:noFill/>
            <a:round/>
            <a:headEnd/>
            <a:tailEnd/>
          </a:ln>
          <a:effectLst>
            <a:outerShdw blurRad="50800" dist="38100" dir="2700000" algn="tl" rotWithShape="0">
              <a:prstClr val="black">
                <a:alpha val="40000"/>
              </a:prstClr>
            </a:outerShdw>
          </a:effectLst>
        </p:spPr>
        <p:txBody>
          <a:bodyPr wrap="none" anchor="ctr"/>
          <a:lstStyle/>
          <a:p>
            <a:endParaRPr lang="en-US" sz="1600"/>
          </a:p>
        </p:txBody>
      </p:sp>
      <p:graphicFrame>
        <p:nvGraphicFramePr>
          <p:cNvPr id="307202" name="Rectangle 2" hidden="1"/>
          <p:cNvGraphicFramePr>
            <a:graphicFrameLocks/>
          </p:cNvGraphicFramePr>
          <p:nvPr>
            <p:custDataLst>
              <p:tags r:id="rId4"/>
            </p:custDataLst>
          </p:nvPr>
        </p:nvGraphicFramePr>
        <p:xfrm>
          <a:off x="0" y="0"/>
          <a:ext cx="161925" cy="161925"/>
        </p:xfrm>
        <a:graphic>
          <a:graphicData uri="http://schemas.openxmlformats.org/presentationml/2006/ole">
            <p:oleObj spid="_x0000_s1113" name="think-cell Slide" r:id="rId12" imgW="0" imgH="0" progId="">
              <p:embed/>
            </p:oleObj>
          </a:graphicData>
        </a:graphic>
      </p:graphicFrame>
      <p:sp>
        <p:nvSpPr>
          <p:cNvPr id="362499" name="Rectangle 3"/>
          <p:cNvSpPr>
            <a:spLocks noGrp="1" noChangeArrowheads="1"/>
          </p:cNvSpPr>
          <p:nvPr>
            <p:ph type="title"/>
            <p:custDataLst>
              <p:tags r:id="rId5"/>
            </p:custDataLst>
          </p:nvPr>
        </p:nvSpPr>
        <p:spPr bwMode="gray"/>
        <p:txBody>
          <a:bodyPr/>
          <a:lstStyle/>
          <a:p>
            <a:pPr fontAlgn="auto">
              <a:spcAft>
                <a:spcPts val="0"/>
              </a:spcAft>
              <a:defRPr/>
            </a:pPr>
            <a:r>
              <a:rPr lang="en-US" altLang="ko-KR" dirty="0">
                <a:ea typeface="Gulim" pitchFamily="34" charset="-127"/>
              </a:rPr>
              <a:t>Key </a:t>
            </a:r>
            <a:r>
              <a:rPr lang="en-US" altLang="ko-KR" dirty="0" smtClean="0">
                <a:ea typeface="Gulim" pitchFamily="34" charset="-127"/>
              </a:rPr>
              <a:t>Messages</a:t>
            </a:r>
            <a:endParaRPr lang="en-US" altLang="ko-KR" dirty="0">
              <a:ea typeface="Gulim" pitchFamily="34" charset="-127"/>
            </a:endParaRPr>
          </a:p>
        </p:txBody>
      </p:sp>
      <p:sp>
        <p:nvSpPr>
          <p:cNvPr id="307210" name="Rectangle 6"/>
          <p:cNvSpPr>
            <a:spLocks noChangeArrowheads="1"/>
          </p:cNvSpPr>
          <p:nvPr>
            <p:custDataLst>
              <p:tags r:id="rId6"/>
            </p:custDataLst>
          </p:nvPr>
        </p:nvSpPr>
        <p:spPr bwMode="gray">
          <a:xfrm>
            <a:off x="3937022" y="1403739"/>
            <a:ext cx="4329097" cy="1107996"/>
          </a:xfrm>
          <a:prstGeom prst="rect">
            <a:avLst/>
          </a:prstGeom>
          <a:noFill/>
          <a:ln w="9525">
            <a:noFill/>
            <a:miter lim="800000"/>
            <a:headEnd/>
            <a:tailEnd/>
          </a:ln>
        </p:spPr>
        <p:txBody>
          <a:bodyPr wrap="square" lIns="0" tIns="0" rIns="0" bIns="0" anchor="ctr">
            <a:spAutoFit/>
          </a:bodyPr>
          <a:lstStyle/>
          <a:p>
            <a:pPr defTabSz="912813"/>
            <a:r>
              <a:rPr lang="en-US" b="1" dirty="0">
                <a:latin typeface="Verdana" pitchFamily="34" charset="0"/>
                <a:ea typeface="Gulim" pitchFamily="34" charset="-127"/>
              </a:rPr>
              <a:t>The potential for increased Ag production in Africa is enormous and some countries matter more than others</a:t>
            </a:r>
            <a:endParaRPr lang="en-US" altLang="ko-KR" b="1" dirty="0">
              <a:latin typeface="Verdana" pitchFamily="34" charset="0"/>
              <a:ea typeface="Gulim" pitchFamily="34" charset="-127"/>
            </a:endParaRPr>
          </a:p>
        </p:txBody>
      </p:sp>
      <p:sp>
        <p:nvSpPr>
          <p:cNvPr id="307212" name="Rectangle 15"/>
          <p:cNvSpPr>
            <a:spLocks noChangeArrowheads="1"/>
          </p:cNvSpPr>
          <p:nvPr>
            <p:custDataLst>
              <p:tags r:id="rId7"/>
            </p:custDataLst>
          </p:nvPr>
        </p:nvSpPr>
        <p:spPr bwMode="gray">
          <a:xfrm>
            <a:off x="4135271" y="4499359"/>
            <a:ext cx="4331865" cy="830997"/>
          </a:xfrm>
          <a:prstGeom prst="rect">
            <a:avLst/>
          </a:prstGeom>
          <a:noFill/>
          <a:ln w="9525">
            <a:noFill/>
            <a:miter lim="800000"/>
            <a:headEnd/>
            <a:tailEnd/>
          </a:ln>
        </p:spPr>
        <p:txBody>
          <a:bodyPr wrap="square" lIns="0" tIns="0" rIns="0" bIns="0" anchor="ctr">
            <a:spAutoFit/>
          </a:bodyPr>
          <a:lstStyle/>
          <a:p>
            <a:pPr lvl="0"/>
            <a:r>
              <a:rPr lang="en-US" dirty="0">
                <a:latin typeface="Verdana" pitchFamily="34" charset="0"/>
                <a:ea typeface="Gulim" pitchFamily="34" charset="-127"/>
              </a:rPr>
              <a:t>Factors other than agronomic potential will enable or constrain </a:t>
            </a:r>
            <a:r>
              <a:rPr lang="en-US" dirty="0" smtClean="0">
                <a:latin typeface="Verdana" pitchFamily="34" charset="0"/>
                <a:ea typeface="Gulim" pitchFamily="34" charset="-127"/>
              </a:rPr>
              <a:t>each country’s growth </a:t>
            </a:r>
            <a:r>
              <a:rPr lang="en-US" dirty="0">
                <a:latin typeface="Verdana" pitchFamily="34" charset="0"/>
                <a:ea typeface="Gulim" pitchFamily="34" charset="-127"/>
              </a:rPr>
              <a:t>potential.</a:t>
            </a:r>
          </a:p>
        </p:txBody>
      </p:sp>
      <p:sp>
        <p:nvSpPr>
          <p:cNvPr id="307218" name="Rectangle 18"/>
          <p:cNvSpPr>
            <a:spLocks noChangeArrowheads="1"/>
          </p:cNvSpPr>
          <p:nvPr>
            <p:custDataLst>
              <p:tags r:id="rId8"/>
            </p:custDataLst>
          </p:nvPr>
        </p:nvSpPr>
        <p:spPr bwMode="auto">
          <a:xfrm>
            <a:off x="1255713" y="929820"/>
            <a:ext cx="1781175" cy="1501775"/>
          </a:xfrm>
          <a:prstGeom prst="rect">
            <a:avLst/>
          </a:prstGeom>
          <a:noFill/>
          <a:ln w="9525">
            <a:noFill/>
            <a:miter lim="800000"/>
            <a:headEnd/>
            <a:tailEnd/>
          </a:ln>
          <a:effectLst/>
        </p:spPr>
        <p:txBody>
          <a:bodyPr wrap="none" anchor="ctr"/>
          <a:lstStyle/>
          <a:p>
            <a:endParaRPr lang="en-US" sz="1600"/>
          </a:p>
        </p:txBody>
      </p:sp>
      <p:sp>
        <p:nvSpPr>
          <p:cNvPr id="307219" name="Rectangle 19"/>
          <p:cNvSpPr>
            <a:spLocks noChangeArrowheads="1"/>
          </p:cNvSpPr>
          <p:nvPr>
            <p:custDataLst>
              <p:tags r:id="rId9"/>
            </p:custDataLst>
          </p:nvPr>
        </p:nvSpPr>
        <p:spPr bwMode="auto">
          <a:xfrm>
            <a:off x="1255713" y="2610983"/>
            <a:ext cx="1781175" cy="1501775"/>
          </a:xfrm>
          <a:prstGeom prst="rect">
            <a:avLst/>
          </a:prstGeom>
          <a:noFill/>
          <a:ln w="9525">
            <a:noFill/>
            <a:miter lim="800000"/>
            <a:headEnd/>
            <a:tailEnd/>
          </a:ln>
          <a:effectLst/>
        </p:spPr>
        <p:txBody>
          <a:bodyPr wrap="none" anchor="ctr"/>
          <a:lstStyle/>
          <a:p>
            <a:pPr algn="ctr"/>
            <a:endParaRPr lang="en-US" sz="1600"/>
          </a:p>
        </p:txBody>
      </p:sp>
    </p:spTree>
    <p:extLst>
      <p:ext uri="{BB962C8B-B14F-4D97-AF65-F5344CB8AC3E}">
        <p14:creationId xmlns:p14="http://schemas.microsoft.com/office/powerpoint/2010/main" xmlns="" val="23931005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cehJw21lkKHIpio_EON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TJCN.wDJESemX9eCgJI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6iOa3Zm2EycL8iuCVOV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THINKCELLSHAPEDONOTDELETE" val="pjOBjdts5XUeJqKOOsps1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7QbgPgov0SRY8n1jJ24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qO4iz95pUqgteCEIZtG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UBmsvJLDkG62ezC.QkD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qSH.gMk8UqiApLYbE0fdQ"/>
</p:tagLst>
</file>

<file path=ppt/tags/tag18.xml><?xml version="1.0" encoding="utf-8"?>
<p:tagLst xmlns:a="http://schemas.openxmlformats.org/drawingml/2006/main" xmlns:r="http://schemas.openxmlformats.org/officeDocument/2006/relationships" xmlns:p="http://schemas.openxmlformats.org/presentationml/2006/main">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TJCN.wDJESemX9eCgJI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8fpjZyTNUykBW5VFutu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TJCN.wDJESemX9eCgJI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6iOa3Zm2EycL8iuCVOV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RESIZE" val="Yes"/>
  <p:tag name="THINKCELLSHAPEDONOTDELETE" val="pjOBjdts5XUeJqKOOsps1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7QbgPgov0SRY8n1jJ240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qO4iz95pUqgteCEIZtG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4UBmsvJLDkG62ezC.QkD8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qSH.gMk8UqiApLYbE0f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6iOa3Zm2EycL8iuCVOV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_VGbOGyQkKVI1214b5igg"/>
</p:tagLst>
</file>

<file path=ppt/tags/tag32.xml><?xml version="1.0" encoding="utf-8"?>
<p:tagLst xmlns:a="http://schemas.openxmlformats.org/drawingml/2006/main" xmlns:r="http://schemas.openxmlformats.org/officeDocument/2006/relationships" xmlns:p="http://schemas.openxmlformats.org/presentationml/2006/main">
  <p:tag name="RESIZE" val="Yes"/>
  <p:tag name="THINKCELLSHAPEDONOTDELETE" val="ph.troQCYJEePHutAsGs_.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VNjX31v.UKf1zol2BIB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sMuAzJAB0m9xX__pK0H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SfgiDaYYkKHP7rz8IXn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3d6kYeLDkmhhkTGV3or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514kdRnK02dBllVzKN2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Hi_1Jmj5UeuLw_J8J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hqN8BZ2rkeyjL_umkGY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YdQDoJUGUe8gtBXDKcC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yOy7lho7keW2rH6d6Ik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ksL9gW8qEGhJsCT5Quc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D88tJ6Ip0GW_ktW4AuX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YokwlkUMEG_8MWvbcil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GF_G4dOlEewUQbqPxKV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Kxb2hFdEeXKef__FF4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mVECsUWOkq8uNlTb5yW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5tZC2na.E.7JrCxQqhQ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jOBjdts5XUeJqKOOsps1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IEzIwUglUC4z.f7VPAa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s6XpUj9LEWJQPJpWkim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7QbgPgov0SRY8n1jJ240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IAm0N7PMECpakg5gj61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qO4iz95pUqgteCEIZtG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UBmsvJLDkG62ezC.QkD8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qSH.gMk8UqiApLYbE0fdQ"/>
</p:tagLst>
</file>

<file path=ppt/theme/theme1.xml><?xml version="1.0" encoding="utf-8"?>
<a:theme xmlns:a="http://schemas.openxmlformats.org/drawingml/2006/main" name="2_Office Theme">
  <a:themeElements>
    <a:clrScheme name="2_Office Theme 1">
      <a:dk1>
        <a:srgbClr val="000000"/>
      </a:dk1>
      <a:lt1>
        <a:srgbClr val="FFFFFF"/>
      </a:lt1>
      <a:dk2>
        <a:srgbClr val="367C2B"/>
      </a:dk2>
      <a:lt2>
        <a:srgbClr val="FFDE00"/>
      </a:lt2>
      <a:accent1>
        <a:srgbClr val="367C2B"/>
      </a:accent1>
      <a:accent2>
        <a:srgbClr val="FFDE00"/>
      </a:accent2>
      <a:accent3>
        <a:srgbClr val="FFFFFF"/>
      </a:accent3>
      <a:accent4>
        <a:srgbClr val="000000"/>
      </a:accent4>
      <a:accent5>
        <a:srgbClr val="AEBFAC"/>
      </a:accent5>
      <a:accent6>
        <a:srgbClr val="E7C900"/>
      </a:accent6>
      <a:hlink>
        <a:srgbClr val="367C2B"/>
      </a:hlink>
      <a:folHlink>
        <a:srgbClr val="666666"/>
      </a:folHlink>
    </a:clrScheme>
    <a:fontScheme name="2_Office Theme">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Office Theme 1">
        <a:dk1>
          <a:srgbClr val="000000"/>
        </a:dk1>
        <a:lt1>
          <a:srgbClr val="FFFFFF"/>
        </a:lt1>
        <a:dk2>
          <a:srgbClr val="367C2B"/>
        </a:dk2>
        <a:lt2>
          <a:srgbClr val="FFDE00"/>
        </a:lt2>
        <a:accent1>
          <a:srgbClr val="367C2B"/>
        </a:accent1>
        <a:accent2>
          <a:srgbClr val="FFDE00"/>
        </a:accent2>
        <a:accent3>
          <a:srgbClr val="FFFFFF"/>
        </a:accent3>
        <a:accent4>
          <a:srgbClr val="000000"/>
        </a:accent4>
        <a:accent5>
          <a:srgbClr val="AEBFAC"/>
        </a:accent5>
        <a:accent6>
          <a:srgbClr val="E7C900"/>
        </a:accent6>
        <a:hlink>
          <a:srgbClr val="367C2B"/>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John Deere">
      <a:dk1>
        <a:sysClr val="windowText" lastClr="000000"/>
      </a:dk1>
      <a:lt1>
        <a:sysClr val="window" lastClr="FFFFFF"/>
      </a:lt1>
      <a:dk2>
        <a:srgbClr val="367C2B"/>
      </a:dk2>
      <a:lt2>
        <a:srgbClr val="FFDE00"/>
      </a:lt2>
      <a:accent1>
        <a:srgbClr val="367C2B"/>
      </a:accent1>
      <a:accent2>
        <a:srgbClr val="FFDE00"/>
      </a:accent2>
      <a:accent3>
        <a:srgbClr val="333333"/>
      </a:accent3>
      <a:accent4>
        <a:srgbClr val="86B080"/>
      </a:accent4>
      <a:accent5>
        <a:srgbClr val="FFF173"/>
      </a:accent5>
      <a:accent6>
        <a:srgbClr val="CCCCCC"/>
      </a:accent6>
      <a:hlink>
        <a:srgbClr val="367C2B"/>
      </a:hlink>
      <a:folHlink>
        <a:srgbClr val="666666"/>
      </a:folHlink>
    </a:clrScheme>
    <a:fontScheme name="John Deer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lstStyle>
        <a:defPPr algn="ctr">
          <a:defRPr sz="1400" dirty="0" err="1" smtClean="0">
            <a:latin typeface="Verdana"/>
            <a:cs typeface="Verdana"/>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Verdana"/>
            <a:cs typeface="Verdana"/>
          </a:defRPr>
        </a:defPPr>
      </a:lstStyle>
    </a:tx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John Deere">
    <a:dk1>
      <a:sysClr val="windowText" lastClr="000000"/>
    </a:dk1>
    <a:lt1>
      <a:sysClr val="window" lastClr="FFFFFF"/>
    </a:lt1>
    <a:dk2>
      <a:srgbClr val="367C2B"/>
    </a:dk2>
    <a:lt2>
      <a:srgbClr val="FFDE00"/>
    </a:lt2>
    <a:accent1>
      <a:srgbClr val="367C2B"/>
    </a:accent1>
    <a:accent2>
      <a:srgbClr val="FFDE00"/>
    </a:accent2>
    <a:accent3>
      <a:srgbClr val="333333"/>
    </a:accent3>
    <a:accent4>
      <a:srgbClr val="86B080"/>
    </a:accent4>
    <a:accent5>
      <a:srgbClr val="FFF173"/>
    </a:accent5>
    <a:accent6>
      <a:srgbClr val="CCCCCC"/>
    </a:accent6>
    <a:hlink>
      <a:srgbClr val="367C2B"/>
    </a:hlink>
    <a:folHlink>
      <a:srgbClr val="666666"/>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John Deere">
    <a:dk1>
      <a:sysClr val="windowText" lastClr="000000"/>
    </a:dk1>
    <a:lt1>
      <a:sysClr val="window" lastClr="FFFFFF"/>
    </a:lt1>
    <a:dk2>
      <a:srgbClr val="367C2B"/>
    </a:dk2>
    <a:lt2>
      <a:srgbClr val="FFDE00"/>
    </a:lt2>
    <a:accent1>
      <a:srgbClr val="367C2B"/>
    </a:accent1>
    <a:accent2>
      <a:srgbClr val="FFDE00"/>
    </a:accent2>
    <a:accent3>
      <a:srgbClr val="333333"/>
    </a:accent3>
    <a:accent4>
      <a:srgbClr val="86B080"/>
    </a:accent4>
    <a:accent5>
      <a:srgbClr val="FFF173"/>
    </a:accent5>
    <a:accent6>
      <a:srgbClr val="CCCCCC"/>
    </a:accent6>
    <a:hlink>
      <a:srgbClr val="367C2B"/>
    </a:hlink>
    <a:folHlink>
      <a:srgbClr val="666666"/>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John Deere">
    <a:dk1>
      <a:sysClr val="windowText" lastClr="000000"/>
    </a:dk1>
    <a:lt1>
      <a:sysClr val="window" lastClr="FFFFFF"/>
    </a:lt1>
    <a:dk2>
      <a:srgbClr val="333333"/>
    </a:dk2>
    <a:lt2>
      <a:srgbClr val="CCCCCC"/>
    </a:lt2>
    <a:accent1>
      <a:srgbClr val="367C2B"/>
    </a:accent1>
    <a:accent2>
      <a:srgbClr val="FFDE00"/>
    </a:accent2>
    <a:accent3>
      <a:srgbClr val="333333"/>
    </a:accent3>
    <a:accent4>
      <a:srgbClr val="86B080"/>
    </a:accent4>
    <a:accent5>
      <a:srgbClr val="FFF173"/>
    </a:accent5>
    <a:accent6>
      <a:srgbClr val="CCCCCC"/>
    </a:accent6>
    <a:hlink>
      <a:srgbClr val="367C2B"/>
    </a:hlink>
    <a:folHlink>
      <a:srgbClr val="666666"/>
    </a:folHlink>
  </a:clrScheme>
  <a:fontScheme name="John Deer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Company xmlns="http://schemas.microsoft.com/sharepoint/v3" xsi:nil="true"/>
    <Platform xmlns="5d49e8ab-843f-4da3-8534-d7bb6b20fb14" xsi:nil="true"/>
    <Code_x0020_Name xmlns="5d49e8ab-843f-4da3-8534-d7bb6b20fb14" xsi:nil="true"/>
    <Potential_x0020_Solution_x0020_Concept_x0020__x0028_PSC_x0029_ xmlns="5d49e8ab-843f-4da3-8534-d7bb6b20fb14" xsi:nil="true"/>
    <Placeholder2 xmlns="5d49e8ab-843f-4da3-8534-d7bb6b20fb14" xsi:nil="true"/>
    <Country xmlns="5d49e8ab-843f-4da3-8534-d7bb6b20fb14" xsi:nil="true"/>
    <Region xmlns="5d49e8ab-843f-4da3-8534-d7bb6b20fb14" xsi:nil="true"/>
    <Business xmlns="5d49e8ab-843f-4da3-8534-d7bb6b20fb14" xsi:nil="true"/>
    <Market_x0020_Opportunity_x0020__x0028_MO_x0029_ xmlns="5d49e8ab-843f-4da3-8534-d7bb6b20fb14" xsi:nil="true"/>
    <Division xmlns="5d49e8ab-843f-4da3-8534-d7bb6b20fb14" xsi:nil="true"/>
    <Products xmlns="5d49e8ab-843f-4da3-8534-d7bb6b20fb14" xsi:nil="true"/>
    <Company_x0020_Structure xmlns="5d49e8ab-843f-4da3-8534-d7bb6b20fb1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Company PowerPoint" ma:contentTypeID="0x010100B643FC0DAC1C364FA5FA4741400052510200AB7CFC9B39A421458BD49C38EB9BE082" ma:contentTypeVersion="0" ma:contentTypeDescription="" ma:contentTypeScope="" ma:versionID="82edb0e09fc6f174b374153425e13dff">
  <xsd:schema xmlns:xsd="http://www.w3.org/2001/XMLSchema" xmlns:xs="http://www.w3.org/2001/XMLSchema" xmlns:p="http://schemas.microsoft.com/office/2006/metadata/properties" xmlns:ns1="http://schemas.microsoft.com/sharepoint/v3" xmlns:ns2="5d49e8ab-843f-4da3-8534-d7bb6b20fb14" targetNamespace="http://schemas.microsoft.com/office/2006/metadata/properties" ma:root="true" ma:fieldsID="54a40222c2ba7e144f01517b066bc68b" ns1:_="" ns2:_="">
    <xsd:import namespace="http://schemas.microsoft.com/sharepoint/v3"/>
    <xsd:import namespace="5d49e8ab-843f-4da3-8534-d7bb6b20fb14"/>
    <xsd:element name="properties">
      <xsd:complexType>
        <xsd:sequence>
          <xsd:element name="documentManagement">
            <xsd:complexType>
              <xsd:all>
                <xsd:element ref="ns2:Company_x0020_Structure" minOccurs="0"/>
                <xsd:element ref="ns1:Company" minOccurs="0"/>
                <xsd:element ref="ns2:Code_x0020_Name" minOccurs="0"/>
                <xsd:element ref="ns2:Business" minOccurs="0"/>
                <xsd:element ref="ns2:Division" minOccurs="0"/>
                <xsd:element ref="ns2:Platform" minOccurs="0"/>
                <xsd:element ref="ns2:Region" minOccurs="0"/>
                <xsd:element ref="ns2:Country" minOccurs="0"/>
                <xsd:element ref="ns2:Market_x0020_Opportunity_x0020__x0028_MO_x0029_" minOccurs="0"/>
                <xsd:element ref="ns2:Potential_x0020_Solution_x0020_Concept_x0020__x0028_PSC_x0029_" minOccurs="0"/>
                <xsd:element ref="ns2:Products" minOccurs="0"/>
                <xsd:element ref="ns2:Placeholder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3" nillable="true" ma:displayName="Company" ma:internalName="Compan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49e8ab-843f-4da3-8534-d7bb6b20fb14" elementFormDefault="qualified">
    <xsd:import namespace="http://schemas.microsoft.com/office/2006/documentManagement/types"/>
    <xsd:import namespace="http://schemas.microsoft.com/office/infopath/2007/PartnerControls"/>
    <xsd:element name="Company_x0020_Structure" ma:index="2" nillable="true" ma:displayName="Company Structure" ma:list="{802c1c94-fd5c-4ae3-b264-612691210856}" ma:internalName="Company_x0020_Structure" ma:showField="Title" ma:web="5d49e8ab-843f-4da3-8534-d7bb6b20fb14">
      <xsd:simpleType>
        <xsd:restriction base="dms:Lookup"/>
      </xsd:simpleType>
    </xsd:element>
    <xsd:element name="Code_x0020_Name" ma:index="4" nillable="true" ma:displayName="Code Name" ma:internalName="Code_x0020_Name">
      <xsd:simpleType>
        <xsd:restriction base="dms:Text">
          <xsd:maxLength value="100"/>
        </xsd:restriction>
      </xsd:simpleType>
    </xsd:element>
    <xsd:element name="Business" ma:index="5" nillable="true" ma:displayName="Business" ma:internalName="Business">
      <xsd:simpleType>
        <xsd:restriction base="dms:Text">
          <xsd:maxLength value="30"/>
        </xsd:restriction>
      </xsd:simpleType>
    </xsd:element>
    <xsd:element name="Division" ma:index="6" nillable="true" ma:displayName="Division" ma:internalName="Division">
      <xsd:simpleType>
        <xsd:restriction base="dms:Text">
          <xsd:maxLength value="30"/>
        </xsd:restriction>
      </xsd:simpleType>
    </xsd:element>
    <xsd:element name="Platform" ma:index="7" nillable="true" ma:displayName="Platform" ma:internalName="Platform">
      <xsd:simpleType>
        <xsd:restriction base="dms:Text">
          <xsd:maxLength value="100"/>
        </xsd:restriction>
      </xsd:simpleType>
    </xsd:element>
    <xsd:element name="Region" ma:index="8" nillable="true" ma:displayName="Region 2" ma:internalName="Region">
      <xsd:simpleType>
        <xsd:restriction base="dms:Text">
          <xsd:maxLength value="100"/>
        </xsd:restriction>
      </xsd:simpleType>
    </xsd:element>
    <xsd:element name="Country" ma:index="9" nillable="true" ma:displayName="Country 2" ma:internalName="Country">
      <xsd:simpleType>
        <xsd:restriction base="dms:Text">
          <xsd:maxLength value="100"/>
        </xsd:restriction>
      </xsd:simpleType>
    </xsd:element>
    <xsd:element name="Market_x0020_Opportunity_x0020__x0028_MO_x0029_" ma:index="10" nillable="true" ma:displayName="Market Opportunity (MO)" ma:internalName="Market_x0020_Opportunity_x0020__x0028_MO_x0029_">
      <xsd:simpleType>
        <xsd:restriction base="dms:Text">
          <xsd:maxLength value="200"/>
        </xsd:restriction>
      </xsd:simpleType>
    </xsd:element>
    <xsd:element name="Potential_x0020_Solution_x0020_Concept_x0020__x0028_PSC_x0029_" ma:index="11" nillable="true" ma:displayName="Potential Solution Concept (PSC)" ma:internalName="Potential_x0020_Solution_x0020_Concept_x0020__x0028_PSC_x0029_">
      <xsd:simpleType>
        <xsd:restriction base="dms:Text">
          <xsd:maxLength value="255"/>
        </xsd:restriction>
      </xsd:simpleType>
    </xsd:element>
    <xsd:element name="Products" ma:index="18" nillable="true" ma:displayName="Products" ma:internalName="Products">
      <xsd:simpleType>
        <xsd:restriction base="dms:Text">
          <xsd:maxLength value="255"/>
        </xsd:restriction>
      </xsd:simpleType>
    </xsd:element>
    <xsd:element name="Placeholder2" ma:index="19" nillable="true" ma:displayName="Placeholder2" ma:format="Dropdown" ma:internalName="Placeholder2">
      <xsd:simpleType>
        <xsd:union memberTypes="dms:Text">
          <xsd:simpleType>
            <xsd:restriction base="dms:Choice">
              <xsd:enumeration value="Project Overview and Company Information"/>
              <xsd:enumeration value="Documentation of Project Closure."/>
              <xsd:enumeration value="Final Legal Documents"/>
              <xsd:enumeration value="Information from target."/>
              <xsd:enumeration value="AFE and DCF"/>
              <xsd:enumeration value="Presentations to AD and BOD"/>
              <xsd:enumeration value="Closing Documents"/>
              <xsd:enumeration value="Valuations and Analysis"/>
              <xsd:enumeration value="Post Closing Valuation"/>
              <xsd:enumeration value="Signed NDA"/>
              <xsd:enumeration value="Team Meeting Minutes"/>
              <xsd:enumeration value="3rd Party Meeting Minutes"/>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F7AC46-C452-4F40-B7CF-9F9723D16614}">
  <ds:schemaRefs>
    <ds:schemaRef ds:uri="http://schemas.microsoft.com/office/2006/metadata/properties"/>
    <ds:schemaRef ds:uri="5d49e8ab-843f-4da3-8534-d7bb6b20fb14"/>
    <ds:schemaRef ds:uri="http://schemas.microsoft.com/office/2006/documentManagement/types"/>
    <ds:schemaRef ds:uri="http://purl.org/dc/elements/1.1/"/>
    <ds:schemaRef ds:uri="http://purl.org/dc/terms/"/>
    <ds:schemaRef ds:uri="http://www.w3.org/XML/1998/namespace"/>
    <ds:schemaRef ds:uri="http://schemas.microsoft.com/office/infopath/2007/PartnerControls"/>
    <ds:schemaRef ds:uri="http://schemas.openxmlformats.org/package/2006/metadata/core-properties"/>
    <ds:schemaRef ds:uri="http://schemas.microsoft.com/sharepoint/v3"/>
    <ds:schemaRef ds:uri="http://purl.org/dc/dcmitype/"/>
  </ds:schemaRefs>
</ds:datastoreItem>
</file>

<file path=customXml/itemProps2.xml><?xml version="1.0" encoding="utf-8"?>
<ds:datastoreItem xmlns:ds="http://schemas.openxmlformats.org/officeDocument/2006/customXml" ds:itemID="{A6A4AB4A-B532-4F9B-8515-C43331F48A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d49e8ab-843f-4da3-8534-d7bb6b20fb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805A9E-F92C-4A13-9B6A-B66669AFE5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347</TotalTime>
  <Words>2884</Words>
  <Application>Microsoft Office PowerPoint</Application>
  <PresentationFormat>On-screen Show (4:3)</PresentationFormat>
  <Paragraphs>469</Paragraphs>
  <Slides>28</Slides>
  <Notes>20</Notes>
  <HiddenSlides>0</HiddenSlides>
  <MMClips>0</MMClips>
  <ScaleCrop>false</ScaleCrop>
  <HeadingPairs>
    <vt:vector size="8" baseType="variant">
      <vt:variant>
        <vt:lpstr>Theme</vt:lpstr>
      </vt:variant>
      <vt:variant>
        <vt:i4>2</vt:i4>
      </vt:variant>
      <vt:variant>
        <vt:lpstr>Links</vt:lpstr>
      </vt:variant>
      <vt:variant>
        <vt:i4>1</vt:i4>
      </vt:variant>
      <vt:variant>
        <vt:lpstr>Embedded OLE Servers</vt:lpstr>
      </vt:variant>
      <vt:variant>
        <vt:i4>2</vt:i4>
      </vt:variant>
      <vt:variant>
        <vt:lpstr>Slide Titles</vt:lpstr>
      </vt:variant>
      <vt:variant>
        <vt:i4>28</vt:i4>
      </vt:variant>
    </vt:vector>
  </HeadingPairs>
  <TitlesOfParts>
    <vt:vector size="33" baseType="lpstr">
      <vt:lpstr>2_Office Theme</vt:lpstr>
      <vt:lpstr>1_Office Theme</vt:lpstr>
      <vt:lpstr>\\jdshare\Govt_Affairs\JBP Presentations\Data\Current\PSD.Data_Production.Consumption&amp;Global.End.Stocks&amp;Stock-Use.Ratio.V2.xlsx!Prod.Consum_Course grains</vt:lpstr>
      <vt:lpstr>think-cell Slide</vt:lpstr>
      <vt:lpstr>Chart</vt:lpstr>
      <vt:lpstr>Slide 1</vt:lpstr>
      <vt:lpstr>Mechanization Trends in Africa  </vt:lpstr>
      <vt:lpstr>Global Macro Economy World GDP growth </vt:lpstr>
      <vt:lpstr>Sub-Saharan Africa GDP Growth</vt:lpstr>
      <vt:lpstr>Population Growth in Emerging Markets  Geographic Distribution of Population Growth, 2000 to 2013</vt:lpstr>
      <vt:lpstr>Global Grains Production and Consumption</vt:lpstr>
      <vt:lpstr>CRB Futures Index – All Commodities January 1970 – September 2013</vt:lpstr>
      <vt:lpstr>Key Messages</vt:lpstr>
      <vt:lpstr>Key Messages</vt:lpstr>
      <vt:lpstr>Gross value of crop production in SSA* totaled $201 Billion in 2010, and was largely the result of a few key crops</vt:lpstr>
      <vt:lpstr>18 countries account for 85% of the harvested area of all crops in SSA with high agriculture potential and macroeconomic and geopolitical stability.</vt:lpstr>
      <vt:lpstr>Current yield attainment is generally higher in developed countries as a result of better agronomic practices.  Potential yield is driven by the climatic fit of each crop.</vt:lpstr>
      <vt:lpstr>Smallholders manage the vast majority of farmland in SSA</vt:lpstr>
      <vt:lpstr>Asia &amp; Africa Agricultural Customer Census Data</vt:lpstr>
      <vt:lpstr>Improving agricultural output requires the management of these agronomic fundamentals.  </vt:lpstr>
      <vt:lpstr>Low natural soil fertility levels impact on yield is compounded by annual mining of soil N-P-K.   On average, 13 kg/ha of nutrients are applied compared to 38kg/ha of nutrients removed through the harvesting of grain.</vt:lpstr>
      <vt:lpstr>Mechanization for the placement of fertilizer is critical to making more nutrients available to the crop, especially in tropical soils.</vt:lpstr>
      <vt:lpstr>Timing of planting to capture early season rains can have a significant impact on yield.    Timing can be optimized with mechanization compared to hand planting, which is limited to after the rains have started due to hard ground conditions.  </vt:lpstr>
      <vt:lpstr>Open-Pollinated Variety conversion to Hybrid seeds </vt:lpstr>
      <vt:lpstr>The limited access to knowledge of agronomic fundamentals and financing to acquire inputs and mechanization is contributing to the yield attainment gaps in Sub-Sahara Africa.</vt:lpstr>
      <vt:lpstr>Key Messages</vt:lpstr>
      <vt:lpstr>Africa’s projected CAGR growth is forecasted at approximately 4.6 % between 2008 and 2023.  The forecasted growth is second only to emerging Asia. </vt:lpstr>
      <vt:lpstr>GDP per Capita for the top and middle 6 countries remains reasonably strong relative to the immense population growth during this time period.</vt:lpstr>
      <vt:lpstr>Slide 24</vt:lpstr>
      <vt:lpstr>Sub-Sahara Africa has great need for infrastructure and it’s impact on Ag can be significant</vt:lpstr>
      <vt:lpstr>Slide 26</vt:lpstr>
      <vt:lpstr>Zambia, the tipping point.</vt:lpstr>
      <vt:lpstr>In Conclusion</vt:lpstr>
    </vt:vector>
  </TitlesOfParts>
  <Company>Deere &amp;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hn Deere Today</dc:title>
  <dc:creator>O'Connor Tim</dc:creator>
  <cp:lastModifiedBy>romit.sen</cp:lastModifiedBy>
  <cp:revision>1029</cp:revision>
  <cp:lastPrinted>2013-10-01T14:08:03Z</cp:lastPrinted>
  <dcterms:created xsi:type="dcterms:W3CDTF">2008-12-01T02:24:54Z</dcterms:created>
  <dcterms:modified xsi:type="dcterms:W3CDTF">2013-12-10T05:1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3FC0DAC1C364FA5FA4741400052510200AB7CFC9B39A421458BD49C38EB9BE082</vt:lpwstr>
  </property>
  <property fmtid="{D5CDD505-2E9C-101B-9397-08002B2CF9AE}" pid="3" name="Owner">
    <vt:lpwstr/>
  </property>
</Properties>
</file>